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9" r:id="rId3"/>
    <p:sldId id="273" r:id="rId4"/>
    <p:sldId id="261" r:id="rId5"/>
    <p:sldId id="258" r:id="rId6"/>
    <p:sldId id="262" r:id="rId7"/>
    <p:sldId id="264" r:id="rId8"/>
    <p:sldId id="265" r:id="rId9"/>
    <p:sldId id="266" r:id="rId10"/>
    <p:sldId id="263" r:id="rId11"/>
    <p:sldId id="267" r:id="rId12"/>
    <p:sldId id="268" r:id="rId13"/>
    <p:sldId id="260" r:id="rId14"/>
    <p:sldId id="257" r:id="rId15"/>
    <p:sldId id="269" r:id="rId16"/>
    <p:sldId id="270" r:id="rId17"/>
    <p:sldId id="271" r:id="rId1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A900"/>
    <a:srgbClr val="008E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54" autoAdjust="0"/>
    <p:restoredTop sz="94660"/>
  </p:normalViewPr>
  <p:slideViewPr>
    <p:cSldViewPr>
      <p:cViewPr varScale="1">
        <p:scale>
          <a:sx n="73" d="100"/>
          <a:sy n="73" d="100"/>
        </p:scale>
        <p:origin x="-102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A0CEB-1702-4CA8-870B-DB26F63CE916}" type="datetimeFigureOut">
              <a:rPr lang="pt-BR" smtClean="0"/>
              <a:t>25/11/201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51615A-961E-4BC4-AA25-21E61CDA2A7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0768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51615A-961E-4BC4-AA25-21E61CDA2A79}" type="slidenum">
              <a:rPr lang="pt-BR" smtClean="0"/>
              <a:t>17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E8CBD8-4333-4849-A5D5-A3ECE6A7602F}" type="datetimeFigureOut">
              <a:rPr lang="pt-BR" smtClean="0"/>
              <a:pPr/>
              <a:t>25/11/201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969E0D-776E-4D8A-BB4F-77635D02C9D3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upo 44"/>
          <p:cNvGrpSpPr/>
          <p:nvPr/>
        </p:nvGrpSpPr>
        <p:grpSpPr>
          <a:xfrm>
            <a:off x="-6796" y="0"/>
            <a:ext cx="9150796" cy="6861820"/>
            <a:chOff x="-6796" y="0"/>
            <a:chExt cx="9150796" cy="6861820"/>
          </a:xfrm>
        </p:grpSpPr>
        <p:grpSp>
          <p:nvGrpSpPr>
            <p:cNvPr id="38" name="Grupo 37"/>
            <p:cNvGrpSpPr/>
            <p:nvPr/>
          </p:nvGrpSpPr>
          <p:grpSpPr>
            <a:xfrm>
              <a:off x="-6796" y="0"/>
              <a:ext cx="8755260" cy="6861820"/>
              <a:chOff x="-6796" y="2708920"/>
              <a:chExt cx="3930724" cy="4152900"/>
            </a:xfrm>
          </p:grpSpPr>
          <p:sp>
            <p:nvSpPr>
              <p:cNvPr id="26" name="Forma livre 25"/>
              <p:cNvSpPr/>
              <p:nvPr/>
            </p:nvSpPr>
            <p:spPr>
              <a:xfrm>
                <a:off x="-6796" y="5648970"/>
                <a:ext cx="3251200" cy="1212850"/>
              </a:xfrm>
              <a:custGeom>
                <a:avLst/>
                <a:gdLst>
                  <a:gd name="connsiteX0" fmla="*/ 12700 w 3251200"/>
                  <a:gd name="connsiteY0" fmla="*/ 1212850 h 1212850"/>
                  <a:gd name="connsiteX1" fmla="*/ 838200 w 3251200"/>
                  <a:gd name="connsiteY1" fmla="*/ 387350 h 1212850"/>
                  <a:gd name="connsiteX2" fmla="*/ 3251200 w 3251200"/>
                  <a:gd name="connsiteY2" fmla="*/ 400050 h 1212850"/>
                  <a:gd name="connsiteX3" fmla="*/ 3251200 w 3251200"/>
                  <a:gd name="connsiteY3" fmla="*/ 0 h 1212850"/>
                  <a:gd name="connsiteX4" fmla="*/ 857250 w 3251200"/>
                  <a:gd name="connsiteY4" fmla="*/ 6350 h 1212850"/>
                  <a:gd name="connsiteX5" fmla="*/ 0 w 3251200"/>
                  <a:gd name="connsiteY5" fmla="*/ 590550 h 1212850"/>
                  <a:gd name="connsiteX6" fmla="*/ 12700 w 3251200"/>
                  <a:gd name="connsiteY6" fmla="*/ 121285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51200" h="1212850">
                    <a:moveTo>
                      <a:pt x="12700" y="1212850"/>
                    </a:moveTo>
                    <a:lnTo>
                      <a:pt x="838200" y="387350"/>
                    </a:lnTo>
                    <a:lnTo>
                      <a:pt x="3251200" y="400050"/>
                    </a:lnTo>
                    <a:lnTo>
                      <a:pt x="3251200" y="0"/>
                    </a:lnTo>
                    <a:lnTo>
                      <a:pt x="857250" y="6350"/>
                    </a:lnTo>
                    <a:lnTo>
                      <a:pt x="0" y="590550"/>
                    </a:lnTo>
                    <a:lnTo>
                      <a:pt x="12700" y="121285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7" name="Forma livre 26"/>
              <p:cNvSpPr/>
              <p:nvPr/>
            </p:nvSpPr>
            <p:spPr>
              <a:xfrm>
                <a:off x="-446" y="5121920"/>
                <a:ext cx="2933700" cy="863600"/>
              </a:xfrm>
              <a:custGeom>
                <a:avLst/>
                <a:gdLst>
                  <a:gd name="connsiteX0" fmla="*/ 0 w 2933700"/>
                  <a:gd name="connsiteY0" fmla="*/ 863600 h 863600"/>
                  <a:gd name="connsiteX1" fmla="*/ 0 w 2933700"/>
                  <a:gd name="connsiteY1" fmla="*/ 203200 h 863600"/>
                  <a:gd name="connsiteX2" fmla="*/ 869950 w 2933700"/>
                  <a:gd name="connsiteY2" fmla="*/ 0 h 863600"/>
                  <a:gd name="connsiteX3" fmla="*/ 2927350 w 2933700"/>
                  <a:gd name="connsiteY3" fmla="*/ 0 h 863600"/>
                  <a:gd name="connsiteX4" fmla="*/ 2933700 w 2933700"/>
                  <a:gd name="connsiteY4" fmla="*/ 406400 h 863600"/>
                  <a:gd name="connsiteX5" fmla="*/ 838200 w 2933700"/>
                  <a:gd name="connsiteY5" fmla="*/ 400050 h 863600"/>
                  <a:gd name="connsiteX6" fmla="*/ 0 w 2933700"/>
                  <a:gd name="connsiteY6" fmla="*/ 863600 h 86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33700" h="863600">
                    <a:moveTo>
                      <a:pt x="0" y="863600"/>
                    </a:moveTo>
                    <a:lnTo>
                      <a:pt x="0" y="203200"/>
                    </a:lnTo>
                    <a:lnTo>
                      <a:pt x="869950" y="0"/>
                    </a:lnTo>
                    <a:lnTo>
                      <a:pt x="2927350" y="0"/>
                    </a:lnTo>
                    <a:lnTo>
                      <a:pt x="2933700" y="406400"/>
                    </a:lnTo>
                    <a:lnTo>
                      <a:pt x="838200" y="400050"/>
                    </a:lnTo>
                    <a:lnTo>
                      <a:pt x="0" y="863600"/>
                    </a:lnTo>
                    <a:close/>
                  </a:path>
                </a:pathLst>
              </a:custGeom>
              <a:solidFill>
                <a:srgbClr val="DEA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8" name="Forma livre 27"/>
              <p:cNvSpPr/>
              <p:nvPr/>
            </p:nvSpPr>
            <p:spPr>
              <a:xfrm>
                <a:off x="5904" y="4461520"/>
                <a:ext cx="2749550" cy="654050"/>
              </a:xfrm>
              <a:custGeom>
                <a:avLst/>
                <a:gdLst>
                  <a:gd name="connsiteX0" fmla="*/ 0 w 2749550"/>
                  <a:gd name="connsiteY0" fmla="*/ 0 h 654050"/>
                  <a:gd name="connsiteX1" fmla="*/ 0 w 2749550"/>
                  <a:gd name="connsiteY1" fmla="*/ 654050 h 654050"/>
                  <a:gd name="connsiteX2" fmla="*/ 793750 w 2749550"/>
                  <a:gd name="connsiteY2" fmla="*/ 546100 h 654050"/>
                  <a:gd name="connsiteX3" fmla="*/ 2743200 w 2749550"/>
                  <a:gd name="connsiteY3" fmla="*/ 539750 h 654050"/>
                  <a:gd name="connsiteX4" fmla="*/ 2749550 w 2749550"/>
                  <a:gd name="connsiteY4" fmla="*/ 127000 h 654050"/>
                  <a:gd name="connsiteX5" fmla="*/ 781050 w 2749550"/>
                  <a:gd name="connsiteY5" fmla="*/ 139700 h 654050"/>
                  <a:gd name="connsiteX6" fmla="*/ 0 w 2749550"/>
                  <a:gd name="connsiteY6" fmla="*/ 0 h 65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49550" h="654050">
                    <a:moveTo>
                      <a:pt x="0" y="0"/>
                    </a:moveTo>
                    <a:lnTo>
                      <a:pt x="0" y="654050"/>
                    </a:lnTo>
                    <a:lnTo>
                      <a:pt x="793750" y="546100"/>
                    </a:lnTo>
                    <a:lnTo>
                      <a:pt x="2743200" y="539750"/>
                    </a:lnTo>
                    <a:cubicBezTo>
                      <a:pt x="2745317" y="402167"/>
                      <a:pt x="2747433" y="264583"/>
                      <a:pt x="2749550" y="127000"/>
                    </a:cubicBezTo>
                    <a:lnTo>
                      <a:pt x="781050" y="1397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29" name="Forma livre 28"/>
              <p:cNvSpPr/>
              <p:nvPr/>
            </p:nvSpPr>
            <p:spPr>
              <a:xfrm>
                <a:off x="-446" y="3597920"/>
                <a:ext cx="2393950" cy="863600"/>
              </a:xfrm>
              <a:custGeom>
                <a:avLst/>
                <a:gdLst>
                  <a:gd name="connsiteX0" fmla="*/ 0 w 2393950"/>
                  <a:gd name="connsiteY0" fmla="*/ 603250 h 863600"/>
                  <a:gd name="connsiteX1" fmla="*/ 0 w 2393950"/>
                  <a:gd name="connsiteY1" fmla="*/ 603250 h 863600"/>
                  <a:gd name="connsiteX2" fmla="*/ 6350 w 2393950"/>
                  <a:gd name="connsiteY2" fmla="*/ 0 h 863600"/>
                  <a:gd name="connsiteX3" fmla="*/ 812800 w 2393950"/>
                  <a:gd name="connsiteY3" fmla="*/ 469900 h 863600"/>
                  <a:gd name="connsiteX4" fmla="*/ 2393950 w 2393950"/>
                  <a:gd name="connsiteY4" fmla="*/ 463550 h 863600"/>
                  <a:gd name="connsiteX5" fmla="*/ 2393950 w 2393950"/>
                  <a:gd name="connsiteY5" fmla="*/ 857250 h 863600"/>
                  <a:gd name="connsiteX6" fmla="*/ 819150 w 2393950"/>
                  <a:gd name="connsiteY6" fmla="*/ 863600 h 863600"/>
                  <a:gd name="connsiteX7" fmla="*/ 0 w 2393950"/>
                  <a:gd name="connsiteY7" fmla="*/ 603250 h 863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950" h="863600">
                    <a:moveTo>
                      <a:pt x="0" y="603250"/>
                    </a:moveTo>
                    <a:lnTo>
                      <a:pt x="0" y="603250"/>
                    </a:lnTo>
                    <a:cubicBezTo>
                      <a:pt x="2117" y="402167"/>
                      <a:pt x="4233" y="201083"/>
                      <a:pt x="6350" y="0"/>
                    </a:cubicBezTo>
                    <a:lnTo>
                      <a:pt x="812800" y="469900"/>
                    </a:lnTo>
                    <a:lnTo>
                      <a:pt x="2393950" y="463550"/>
                    </a:lnTo>
                    <a:lnTo>
                      <a:pt x="2393950" y="857250"/>
                    </a:lnTo>
                    <a:lnTo>
                      <a:pt x="819150" y="863600"/>
                    </a:lnTo>
                    <a:lnTo>
                      <a:pt x="0" y="60325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0" name="Forma livre 29"/>
              <p:cNvSpPr/>
              <p:nvPr/>
            </p:nvSpPr>
            <p:spPr>
              <a:xfrm>
                <a:off x="5904" y="2708920"/>
                <a:ext cx="2203450" cy="1225550"/>
              </a:xfrm>
              <a:custGeom>
                <a:avLst/>
                <a:gdLst>
                  <a:gd name="connsiteX0" fmla="*/ 0 w 2203450"/>
                  <a:gd name="connsiteY0" fmla="*/ 0 h 1225550"/>
                  <a:gd name="connsiteX1" fmla="*/ 0 w 2203450"/>
                  <a:gd name="connsiteY1" fmla="*/ 673100 h 1225550"/>
                  <a:gd name="connsiteX2" fmla="*/ 831850 w 2203450"/>
                  <a:gd name="connsiteY2" fmla="*/ 1225550 h 1225550"/>
                  <a:gd name="connsiteX3" fmla="*/ 2197100 w 2203450"/>
                  <a:gd name="connsiteY3" fmla="*/ 1225550 h 1225550"/>
                  <a:gd name="connsiteX4" fmla="*/ 2203450 w 2203450"/>
                  <a:gd name="connsiteY4" fmla="*/ 812800 h 1225550"/>
                  <a:gd name="connsiteX5" fmla="*/ 787400 w 2203450"/>
                  <a:gd name="connsiteY5" fmla="*/ 819150 h 1225550"/>
                  <a:gd name="connsiteX6" fmla="*/ 0 w 2203450"/>
                  <a:gd name="connsiteY6" fmla="*/ 0 h 1225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3450" h="1225550">
                    <a:moveTo>
                      <a:pt x="0" y="0"/>
                    </a:moveTo>
                    <a:lnTo>
                      <a:pt x="0" y="673100"/>
                    </a:lnTo>
                    <a:lnTo>
                      <a:pt x="831850" y="1225550"/>
                    </a:lnTo>
                    <a:lnTo>
                      <a:pt x="2197100" y="1225550"/>
                    </a:lnTo>
                    <a:cubicBezTo>
                      <a:pt x="2199217" y="1087967"/>
                      <a:pt x="2201333" y="950383"/>
                      <a:pt x="2203450" y="812800"/>
                    </a:cubicBezTo>
                    <a:lnTo>
                      <a:pt x="787400" y="8191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E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3" name="Forma livre 32"/>
              <p:cNvSpPr/>
              <p:nvPr/>
            </p:nvSpPr>
            <p:spPr>
              <a:xfrm>
                <a:off x="2304604" y="3521720"/>
                <a:ext cx="584200" cy="393700"/>
              </a:xfrm>
              <a:custGeom>
                <a:avLst/>
                <a:gdLst>
                  <a:gd name="connsiteX0" fmla="*/ 0 w 584200"/>
                  <a:gd name="connsiteY0" fmla="*/ 0 h 393700"/>
                  <a:gd name="connsiteX1" fmla="*/ 6350 w 584200"/>
                  <a:gd name="connsiteY1" fmla="*/ 393700 h 393700"/>
                  <a:gd name="connsiteX2" fmla="*/ 374650 w 584200"/>
                  <a:gd name="connsiteY2" fmla="*/ 393700 h 393700"/>
                  <a:gd name="connsiteX3" fmla="*/ 584200 w 584200"/>
                  <a:gd name="connsiteY3" fmla="*/ 196850 h 393700"/>
                  <a:gd name="connsiteX4" fmla="*/ 349250 w 584200"/>
                  <a:gd name="connsiteY4" fmla="*/ 0 h 393700"/>
                  <a:gd name="connsiteX5" fmla="*/ 0 w 584200"/>
                  <a:gd name="connsiteY5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00" h="393700">
                    <a:moveTo>
                      <a:pt x="0" y="0"/>
                    </a:moveTo>
                    <a:lnTo>
                      <a:pt x="6350" y="393700"/>
                    </a:lnTo>
                    <a:lnTo>
                      <a:pt x="374650" y="393700"/>
                    </a:lnTo>
                    <a:lnTo>
                      <a:pt x="584200" y="196850"/>
                    </a:lnTo>
                    <a:lnTo>
                      <a:pt x="3492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E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4" name="Forma livre 33"/>
              <p:cNvSpPr/>
              <p:nvPr/>
            </p:nvSpPr>
            <p:spPr>
              <a:xfrm>
                <a:off x="2520082" y="4064248"/>
                <a:ext cx="584200" cy="393700"/>
              </a:xfrm>
              <a:custGeom>
                <a:avLst/>
                <a:gdLst>
                  <a:gd name="connsiteX0" fmla="*/ 0 w 584200"/>
                  <a:gd name="connsiteY0" fmla="*/ 0 h 393700"/>
                  <a:gd name="connsiteX1" fmla="*/ 6350 w 584200"/>
                  <a:gd name="connsiteY1" fmla="*/ 393700 h 393700"/>
                  <a:gd name="connsiteX2" fmla="*/ 374650 w 584200"/>
                  <a:gd name="connsiteY2" fmla="*/ 393700 h 393700"/>
                  <a:gd name="connsiteX3" fmla="*/ 584200 w 584200"/>
                  <a:gd name="connsiteY3" fmla="*/ 196850 h 393700"/>
                  <a:gd name="connsiteX4" fmla="*/ 349250 w 584200"/>
                  <a:gd name="connsiteY4" fmla="*/ 0 h 393700"/>
                  <a:gd name="connsiteX5" fmla="*/ 0 w 584200"/>
                  <a:gd name="connsiteY5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00" h="393700">
                    <a:moveTo>
                      <a:pt x="0" y="0"/>
                    </a:moveTo>
                    <a:lnTo>
                      <a:pt x="6350" y="393700"/>
                    </a:lnTo>
                    <a:lnTo>
                      <a:pt x="374650" y="393700"/>
                    </a:lnTo>
                    <a:lnTo>
                      <a:pt x="584200" y="196850"/>
                    </a:lnTo>
                    <a:lnTo>
                      <a:pt x="3492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5" name="Forma livre 34"/>
              <p:cNvSpPr/>
              <p:nvPr/>
            </p:nvSpPr>
            <p:spPr>
              <a:xfrm>
                <a:off x="2854722" y="4595862"/>
                <a:ext cx="584200" cy="393700"/>
              </a:xfrm>
              <a:custGeom>
                <a:avLst/>
                <a:gdLst>
                  <a:gd name="connsiteX0" fmla="*/ 0 w 584200"/>
                  <a:gd name="connsiteY0" fmla="*/ 0 h 393700"/>
                  <a:gd name="connsiteX1" fmla="*/ 6350 w 584200"/>
                  <a:gd name="connsiteY1" fmla="*/ 393700 h 393700"/>
                  <a:gd name="connsiteX2" fmla="*/ 374650 w 584200"/>
                  <a:gd name="connsiteY2" fmla="*/ 393700 h 393700"/>
                  <a:gd name="connsiteX3" fmla="*/ 584200 w 584200"/>
                  <a:gd name="connsiteY3" fmla="*/ 196850 h 393700"/>
                  <a:gd name="connsiteX4" fmla="*/ 349250 w 584200"/>
                  <a:gd name="connsiteY4" fmla="*/ 0 h 393700"/>
                  <a:gd name="connsiteX5" fmla="*/ 0 w 584200"/>
                  <a:gd name="connsiteY5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00" h="393700">
                    <a:moveTo>
                      <a:pt x="0" y="0"/>
                    </a:moveTo>
                    <a:lnTo>
                      <a:pt x="6350" y="393700"/>
                    </a:lnTo>
                    <a:lnTo>
                      <a:pt x="374650" y="393700"/>
                    </a:lnTo>
                    <a:lnTo>
                      <a:pt x="584200" y="196850"/>
                    </a:lnTo>
                    <a:lnTo>
                      <a:pt x="3492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6" name="Forma livre 35"/>
              <p:cNvSpPr/>
              <p:nvPr/>
            </p:nvSpPr>
            <p:spPr>
              <a:xfrm>
                <a:off x="3026296" y="5131420"/>
                <a:ext cx="584200" cy="393700"/>
              </a:xfrm>
              <a:custGeom>
                <a:avLst/>
                <a:gdLst>
                  <a:gd name="connsiteX0" fmla="*/ 0 w 584200"/>
                  <a:gd name="connsiteY0" fmla="*/ 0 h 393700"/>
                  <a:gd name="connsiteX1" fmla="*/ 6350 w 584200"/>
                  <a:gd name="connsiteY1" fmla="*/ 393700 h 393700"/>
                  <a:gd name="connsiteX2" fmla="*/ 374650 w 584200"/>
                  <a:gd name="connsiteY2" fmla="*/ 393700 h 393700"/>
                  <a:gd name="connsiteX3" fmla="*/ 584200 w 584200"/>
                  <a:gd name="connsiteY3" fmla="*/ 196850 h 393700"/>
                  <a:gd name="connsiteX4" fmla="*/ 349250 w 584200"/>
                  <a:gd name="connsiteY4" fmla="*/ 0 h 393700"/>
                  <a:gd name="connsiteX5" fmla="*/ 0 w 584200"/>
                  <a:gd name="connsiteY5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00" h="393700">
                    <a:moveTo>
                      <a:pt x="0" y="0"/>
                    </a:moveTo>
                    <a:lnTo>
                      <a:pt x="6350" y="393700"/>
                    </a:lnTo>
                    <a:lnTo>
                      <a:pt x="374650" y="393700"/>
                    </a:lnTo>
                    <a:lnTo>
                      <a:pt x="584200" y="196850"/>
                    </a:lnTo>
                    <a:lnTo>
                      <a:pt x="3492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EA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37" name="Forma livre 36"/>
              <p:cNvSpPr/>
              <p:nvPr/>
            </p:nvSpPr>
            <p:spPr>
              <a:xfrm>
                <a:off x="3339728" y="5654774"/>
                <a:ext cx="584200" cy="393700"/>
              </a:xfrm>
              <a:custGeom>
                <a:avLst/>
                <a:gdLst>
                  <a:gd name="connsiteX0" fmla="*/ 0 w 584200"/>
                  <a:gd name="connsiteY0" fmla="*/ 0 h 393700"/>
                  <a:gd name="connsiteX1" fmla="*/ 6350 w 584200"/>
                  <a:gd name="connsiteY1" fmla="*/ 393700 h 393700"/>
                  <a:gd name="connsiteX2" fmla="*/ 374650 w 584200"/>
                  <a:gd name="connsiteY2" fmla="*/ 393700 h 393700"/>
                  <a:gd name="connsiteX3" fmla="*/ 584200 w 584200"/>
                  <a:gd name="connsiteY3" fmla="*/ 196850 h 393700"/>
                  <a:gd name="connsiteX4" fmla="*/ 349250 w 584200"/>
                  <a:gd name="connsiteY4" fmla="*/ 0 h 393700"/>
                  <a:gd name="connsiteX5" fmla="*/ 0 w 584200"/>
                  <a:gd name="connsiteY5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4200" h="393700">
                    <a:moveTo>
                      <a:pt x="0" y="0"/>
                    </a:moveTo>
                    <a:lnTo>
                      <a:pt x="6350" y="393700"/>
                    </a:lnTo>
                    <a:lnTo>
                      <a:pt x="374650" y="393700"/>
                    </a:lnTo>
                    <a:lnTo>
                      <a:pt x="584200" y="196850"/>
                    </a:lnTo>
                    <a:lnTo>
                      <a:pt x="3492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40" name="CaixaDeTexto 39"/>
            <p:cNvSpPr txBox="1"/>
            <p:nvPr/>
          </p:nvSpPr>
          <p:spPr>
            <a:xfrm>
              <a:off x="5292080" y="1225780"/>
              <a:ext cx="50405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4800" dirty="0" smtClean="0"/>
                <a:t>A</a:t>
              </a:r>
              <a:endParaRPr lang="pt-BR" sz="4800" dirty="0"/>
            </a:p>
          </p:txBody>
        </p:sp>
        <p:sp>
          <p:nvSpPr>
            <p:cNvPr id="41" name="CaixaDeTexto 40"/>
            <p:cNvSpPr txBox="1"/>
            <p:nvPr/>
          </p:nvSpPr>
          <p:spPr>
            <a:xfrm>
              <a:off x="5796136" y="2122413"/>
              <a:ext cx="50405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4800" dirty="0" smtClean="0"/>
                <a:t>B</a:t>
              </a:r>
              <a:endParaRPr lang="pt-BR" sz="4800" dirty="0"/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6444208" y="3015537"/>
              <a:ext cx="50405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4800" dirty="0" smtClean="0"/>
                <a:t>C</a:t>
              </a:r>
              <a:endParaRPr lang="pt-BR" sz="4800" dirty="0"/>
            </a:p>
          </p:txBody>
        </p:sp>
        <p:sp>
          <p:nvSpPr>
            <p:cNvPr id="43" name="CaixaDeTexto 42"/>
            <p:cNvSpPr txBox="1"/>
            <p:nvPr/>
          </p:nvSpPr>
          <p:spPr>
            <a:xfrm>
              <a:off x="6876256" y="3894147"/>
              <a:ext cx="50405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4800" dirty="0" smtClean="0"/>
                <a:t>D</a:t>
              </a:r>
              <a:endParaRPr lang="pt-BR" sz="4800" dirty="0"/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7596336" y="4758243"/>
              <a:ext cx="50405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4800" dirty="0" smtClean="0"/>
                <a:t>E</a:t>
              </a:r>
              <a:endParaRPr lang="pt-BR" sz="4800" dirty="0"/>
            </a:p>
          </p:txBody>
        </p:sp>
        <p:sp>
          <p:nvSpPr>
            <p:cNvPr id="39" name="Retângulo 38"/>
            <p:cNvSpPr/>
            <p:nvPr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>
                <a:alpha val="3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7" name="CaixaDeTexto 46"/>
          <p:cNvSpPr txBox="1"/>
          <p:nvPr/>
        </p:nvSpPr>
        <p:spPr>
          <a:xfrm>
            <a:off x="1835696" y="3200862"/>
            <a:ext cx="540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DIFICA E CONPET</a:t>
            </a:r>
            <a:endParaRPr lang="pt-BR" sz="3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-36512" y="6525344"/>
            <a:ext cx="25202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LEXANDRE ROSA 5402306</a:t>
            </a:r>
            <a:endParaRPr lang="pt-BR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3203848" y="6525344"/>
            <a:ext cx="30243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ARIANA GUIMARÃES 5661143</a:t>
            </a:r>
            <a:endParaRPr lang="pt-BR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0" name="CaixaDeTexto 49"/>
          <p:cNvSpPr txBox="1"/>
          <p:nvPr/>
        </p:nvSpPr>
        <p:spPr>
          <a:xfrm>
            <a:off x="6948264" y="6525344"/>
            <a:ext cx="30243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MÔNICA UECHI 5402564</a:t>
            </a:r>
            <a:endParaRPr lang="pt-BR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Retângulo 23"/>
          <p:cNvSpPr/>
          <p:nvPr/>
        </p:nvSpPr>
        <p:spPr>
          <a:xfrm rot="21448524">
            <a:off x="-133494" y="2880646"/>
            <a:ext cx="2185214" cy="1107996"/>
          </a:xfrm>
          <a:prstGeom prst="rect">
            <a:avLst/>
          </a:prstGeom>
          <a:scene3d>
            <a:camera prst="orthographicFront">
              <a:rot lat="0" lon="2699989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r>
              <a:rPr lang="pt-BR" sz="6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</a:t>
            </a:r>
            <a:r>
              <a:rPr lang="pt-BR" sz="5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</a:t>
            </a:r>
            <a:r>
              <a:rPr lang="pt-BR" sz="4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</a:t>
            </a:r>
            <a:r>
              <a:rPr lang="pt-BR" sz="4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</a:t>
            </a:r>
            <a:r>
              <a:rPr lang="pt-BR" sz="40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</a:t>
            </a:r>
            <a:r>
              <a:rPr lang="pt-BR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</a:t>
            </a:r>
            <a:endParaRPr lang="pt-BR" sz="3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1" name="Retângulo 10"/>
          <p:cNvSpPr/>
          <p:nvPr/>
        </p:nvSpPr>
        <p:spPr>
          <a:xfrm>
            <a:off x="2267744" y="1556792"/>
            <a:ext cx="4032448" cy="3717031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/>
        </p:nvSpPr>
        <p:spPr>
          <a:xfrm>
            <a:off x="1619672" y="332656"/>
            <a:ext cx="646246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dirty="0" smtClean="0">
                <a:solidFill>
                  <a:schemeClr val="bg1"/>
                </a:solidFill>
              </a:rPr>
              <a:t>CLASSIFICAÇÃO DO PROCEL</a:t>
            </a:r>
          </a:p>
          <a:p>
            <a:pPr>
              <a:buNone/>
            </a:pPr>
            <a:endParaRPr lang="pt-BR" sz="2800" dirty="0" smtClean="0"/>
          </a:p>
          <a:p>
            <a:pPr lvl="0"/>
            <a:endParaRPr lang="pt-BR" sz="2800" dirty="0" smtClean="0"/>
          </a:p>
        </p:txBody>
      </p:sp>
      <p:sp>
        <p:nvSpPr>
          <p:cNvPr id="13" name="Retângulo 12"/>
          <p:cNvSpPr/>
          <p:nvPr/>
        </p:nvSpPr>
        <p:spPr>
          <a:xfrm>
            <a:off x="2483768" y="1628800"/>
            <a:ext cx="36004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dirty="0" smtClean="0"/>
              <a:t>PONTUAÇÃO TOTAL:</a:t>
            </a:r>
          </a:p>
          <a:p>
            <a:endParaRPr lang="pt-BR" sz="3200" dirty="0" smtClean="0"/>
          </a:p>
          <a:p>
            <a:r>
              <a:rPr lang="pt-BR" sz="3200" dirty="0" smtClean="0"/>
              <a:t>A      4,5 ≤ PT ≤ 5</a:t>
            </a:r>
          </a:p>
          <a:p>
            <a:r>
              <a:rPr lang="pt-BR" sz="3200" dirty="0" smtClean="0"/>
              <a:t>B      3,5 ≤ PT &lt; 4,5</a:t>
            </a:r>
          </a:p>
          <a:p>
            <a:r>
              <a:rPr lang="pt-BR" sz="3200" dirty="0" smtClean="0"/>
              <a:t>C      2,5 ≤ PT &lt; 3,5</a:t>
            </a:r>
          </a:p>
          <a:p>
            <a:r>
              <a:rPr lang="pt-BR" sz="3200" dirty="0" smtClean="0"/>
              <a:t>D      1,5 ≤ PT &lt; 2,5</a:t>
            </a:r>
          </a:p>
          <a:p>
            <a:r>
              <a:rPr lang="pt-BR" sz="3200" dirty="0" smtClean="0"/>
              <a:t>E      PT &lt; 1,5</a:t>
            </a:r>
          </a:p>
          <a:p>
            <a:pPr>
              <a:buNone/>
            </a:pPr>
            <a:endParaRPr lang="pt-BR" sz="2000" b="1" dirty="0" smtClean="0"/>
          </a:p>
          <a:p>
            <a:pPr lvl="0"/>
            <a:endParaRPr lang="pt-BR" sz="2800" dirty="0" smtClean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4" name="Retângulo 13"/>
          <p:cNvSpPr/>
          <p:nvPr/>
        </p:nvSpPr>
        <p:spPr>
          <a:xfrm>
            <a:off x="827584" y="1556792"/>
            <a:ext cx="8064896" cy="5112568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83568" y="1600200"/>
            <a:ext cx="8064896" cy="5257800"/>
          </a:xfrm>
        </p:spPr>
        <p:txBody>
          <a:bodyPr rtlCol="0">
            <a:normAutofit fontScale="92500" lnSpcReduction="10000"/>
          </a:bodyPr>
          <a:lstStyle/>
          <a:p>
            <a:pPr>
              <a:buNone/>
            </a:pPr>
            <a:r>
              <a:rPr lang="pt-BR" dirty="0" smtClean="0"/>
              <a:t>     AVALIAÇÃO DA EDIFICAÇÃO:</a:t>
            </a:r>
          </a:p>
          <a:p>
            <a:endParaRPr lang="en-US" dirty="0" smtClean="0"/>
          </a:p>
          <a:p>
            <a:pPr>
              <a:buNone/>
            </a:pPr>
            <a:r>
              <a:rPr lang="pt-BR" dirty="0" smtClean="0"/>
              <a:t>	- O proprietário solicita a avaliação de projeto para concessão da ENCE de projeto com a entrega dos documentos relativos a:</a:t>
            </a:r>
          </a:p>
          <a:p>
            <a:pPr>
              <a:buNone/>
            </a:pPr>
            <a:r>
              <a:rPr lang="pt-BR" dirty="0" smtClean="0"/>
              <a:t>		Classificação de Eficiência Energética de 	Edifícios; </a:t>
            </a:r>
          </a:p>
          <a:p>
            <a:pPr lvl="0">
              <a:buNone/>
            </a:pPr>
            <a:r>
              <a:rPr lang="pt-BR" dirty="0" smtClean="0"/>
              <a:t>		Fornecimento de dados de envoltória;</a:t>
            </a:r>
          </a:p>
          <a:p>
            <a:pPr lvl="0">
              <a:buNone/>
            </a:pPr>
            <a:r>
              <a:rPr lang="pt-BR" dirty="0" smtClean="0"/>
              <a:t>		Fornecimento de dados de iluminação;</a:t>
            </a:r>
          </a:p>
          <a:p>
            <a:pPr lvl="0">
              <a:buNone/>
            </a:pPr>
            <a:r>
              <a:rPr lang="pt-BR" dirty="0" smtClean="0"/>
              <a:t>		Fornecimento de dados de condicionamento 	de ar. </a:t>
            </a:r>
          </a:p>
          <a:p>
            <a:pPr>
              <a:buNone/>
            </a:pPr>
            <a:endParaRPr lang="pt-BR" dirty="0" smtClean="0"/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1835696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4" name="Retângulo 13"/>
          <p:cNvSpPr/>
          <p:nvPr/>
        </p:nvSpPr>
        <p:spPr>
          <a:xfrm>
            <a:off x="1907704" y="1772816"/>
            <a:ext cx="6984776" cy="4104456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071670" y="1857364"/>
            <a:ext cx="7072330" cy="5257800"/>
          </a:xfrm>
        </p:spPr>
        <p:txBody>
          <a:bodyPr rtlCol="0">
            <a:normAutofit/>
          </a:bodyPr>
          <a:lstStyle/>
          <a:p>
            <a:r>
              <a:rPr lang="pt-BR" dirty="0" smtClean="0"/>
              <a:t>Avaliação da Edificação:</a:t>
            </a:r>
          </a:p>
          <a:p>
            <a:endParaRPr lang="en-US" dirty="0" smtClean="0"/>
          </a:p>
          <a:p>
            <a:pPr>
              <a:buNone/>
            </a:pPr>
            <a:r>
              <a:rPr lang="pt-BR" dirty="0" smtClean="0"/>
              <a:t>	- A ENCE do edifício é expedida após a confirmação, por parte do laboratório de inspeção, do atendimento de todos os requisitos para obtenção da etiquetagem requerida</a:t>
            </a:r>
          </a:p>
        </p:txBody>
      </p:sp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1835696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8" name="Forma livre 7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Forma livre 11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5736" y="1844824"/>
            <a:ext cx="6968774" cy="3175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re 1"/>
          <p:cNvSpPr>
            <a:spLocks noGrp="1"/>
          </p:cNvSpPr>
          <p:nvPr>
            <p:ph type="title"/>
          </p:nvPr>
        </p:nvSpPr>
        <p:spPr>
          <a:xfrm>
            <a:off x="2555776" y="-99392"/>
            <a:ext cx="6480720" cy="1571612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ESTUDO DE CASO – SEDE CEMIG EM BELO HORIZONTE - M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32" name="Forma livre 31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Forma livre 32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Forma livre 33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Forma livre 34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Forma livre 35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1644649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35156" t="24375" r="26758" b="17500"/>
          <a:stretch>
            <a:fillRect/>
          </a:stretch>
        </p:blipFill>
        <p:spPr bwMode="auto">
          <a:xfrm>
            <a:off x="3347864" y="980728"/>
            <a:ext cx="5429288" cy="5178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" name="Conector reto 12"/>
          <p:cNvCxnSpPr/>
          <p:nvPr/>
        </p:nvCxnSpPr>
        <p:spPr>
          <a:xfrm flipH="1" flipV="1">
            <a:off x="2627784" y="3429000"/>
            <a:ext cx="4824536" cy="864096"/>
          </a:xfrm>
          <a:prstGeom prst="line">
            <a:avLst/>
          </a:prstGeom>
          <a:ln w="317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 flipH="1">
            <a:off x="2627784" y="4293096"/>
            <a:ext cx="4824536" cy="1800200"/>
          </a:xfrm>
          <a:prstGeom prst="line">
            <a:avLst/>
          </a:prstGeom>
          <a:ln w="317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aixaDeTexto 21"/>
          <p:cNvSpPr txBox="1"/>
          <p:nvPr/>
        </p:nvSpPr>
        <p:spPr>
          <a:xfrm>
            <a:off x="1115616" y="6093296"/>
            <a:ext cx="280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EDIFÍCIO CEMIG –                  BELO HORIZONTE - MG</a:t>
            </a:r>
            <a:endParaRPr lang="pt-BR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6" y="3429000"/>
            <a:ext cx="1647825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800000" rev="0"/>
            </a:camera>
            <a:lightRig rig="threePt" dir="t"/>
          </a:scene3d>
        </p:spPr>
      </p:pic>
      <p:sp>
        <p:nvSpPr>
          <p:cNvPr id="29" name="Elipse 28"/>
          <p:cNvSpPr/>
          <p:nvPr/>
        </p:nvSpPr>
        <p:spPr>
          <a:xfrm>
            <a:off x="7365798" y="4207136"/>
            <a:ext cx="144016" cy="144016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:\Documents and Settings\claudio\Meus documentos\Iara_Note\Curso EEM\EUREM_ate04set2011\SLIDE ESTRATEGIAS_FINAL cop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404664"/>
            <a:ext cx="6604692" cy="5902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 l="24803" t="11810" r="40158" b="8032"/>
          <a:stretch>
            <a:fillRect/>
          </a:stretch>
        </p:blipFill>
        <p:spPr bwMode="auto">
          <a:xfrm>
            <a:off x="4211960" y="1268760"/>
            <a:ext cx="3054350" cy="433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Forma livre 24"/>
          <p:cNvSpPr/>
          <p:nvPr/>
        </p:nvSpPr>
        <p:spPr>
          <a:xfrm rot="10800000">
            <a:off x="7524328" y="2348880"/>
            <a:ext cx="1301242" cy="650509"/>
          </a:xfrm>
          <a:custGeom>
            <a:avLst/>
            <a:gdLst>
              <a:gd name="connsiteX0" fmla="*/ 0 w 584200"/>
              <a:gd name="connsiteY0" fmla="*/ 0 h 393700"/>
              <a:gd name="connsiteX1" fmla="*/ 6350 w 584200"/>
              <a:gd name="connsiteY1" fmla="*/ 393700 h 393700"/>
              <a:gd name="connsiteX2" fmla="*/ 374650 w 584200"/>
              <a:gd name="connsiteY2" fmla="*/ 393700 h 393700"/>
              <a:gd name="connsiteX3" fmla="*/ 584200 w 584200"/>
              <a:gd name="connsiteY3" fmla="*/ 196850 h 393700"/>
              <a:gd name="connsiteX4" fmla="*/ 349250 w 584200"/>
              <a:gd name="connsiteY4" fmla="*/ 0 h 393700"/>
              <a:gd name="connsiteX5" fmla="*/ 0 w 584200"/>
              <a:gd name="connsiteY5" fmla="*/ 0 h 393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200" h="393700">
                <a:moveTo>
                  <a:pt x="0" y="0"/>
                </a:moveTo>
                <a:lnTo>
                  <a:pt x="6350" y="393700"/>
                </a:lnTo>
                <a:lnTo>
                  <a:pt x="374650" y="393700"/>
                </a:lnTo>
                <a:lnTo>
                  <a:pt x="584200" y="196850"/>
                </a:lnTo>
                <a:lnTo>
                  <a:pt x="349250" y="0"/>
                </a:lnTo>
                <a:lnTo>
                  <a:pt x="0" y="0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/>
          <p:cNvSpPr txBox="1"/>
          <p:nvPr/>
        </p:nvSpPr>
        <p:spPr>
          <a:xfrm>
            <a:off x="8100392" y="2231890"/>
            <a:ext cx="504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800" b="1" dirty="0" smtClean="0">
                <a:solidFill>
                  <a:schemeClr val="bg1"/>
                </a:solidFill>
              </a:rPr>
              <a:t>B</a:t>
            </a:r>
            <a:endParaRPr lang="pt-BR" sz="4800" b="1" dirty="0">
              <a:solidFill>
                <a:schemeClr val="bg1"/>
              </a:solidFill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2123728" y="6021288"/>
            <a:ext cx="44644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/>
              <a:t>C + D + B + BÔNUS = B </a:t>
            </a:r>
            <a:endParaRPr lang="pt-BR" sz="3200" b="1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7812360" y="4941168"/>
            <a:ext cx="9361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600" b="1" dirty="0" smtClean="0">
                <a:solidFill>
                  <a:schemeClr val="bg1"/>
                </a:solidFill>
              </a:rPr>
              <a:t>?</a:t>
            </a:r>
            <a:endParaRPr lang="pt-BR" sz="9600" b="1" dirty="0">
              <a:solidFill>
                <a:schemeClr val="bg1"/>
              </a:solidFill>
            </a:endParaRPr>
          </a:p>
        </p:txBody>
      </p:sp>
      <p:sp>
        <p:nvSpPr>
          <p:cNvPr id="32" name="AutoShape 5"/>
          <p:cNvSpPr>
            <a:spLocks noChangeArrowheads="1"/>
          </p:cNvSpPr>
          <p:nvPr/>
        </p:nvSpPr>
        <p:spPr bwMode="auto">
          <a:xfrm>
            <a:off x="7380312" y="4896544"/>
            <a:ext cx="1656184" cy="162880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034" y="10800"/>
                </a:moveTo>
                <a:cubicBezTo>
                  <a:pt x="1034" y="16194"/>
                  <a:pt x="5406" y="20566"/>
                  <a:pt x="10800" y="20566"/>
                </a:cubicBezTo>
                <a:cubicBezTo>
                  <a:pt x="16194" y="20566"/>
                  <a:pt x="20566" y="16194"/>
                  <a:pt x="20566" y="10800"/>
                </a:cubicBezTo>
                <a:cubicBezTo>
                  <a:pt x="20566" y="5406"/>
                  <a:pt x="16194" y="1034"/>
                  <a:pt x="10800" y="1034"/>
                </a:cubicBezTo>
                <a:cubicBezTo>
                  <a:pt x="5406" y="1034"/>
                  <a:pt x="1034" y="5406"/>
                  <a:pt x="1034" y="10800"/>
                </a:cubicBezTo>
                <a:close/>
              </a:path>
            </a:pathLst>
          </a:cu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pt-BR"/>
          </a:p>
        </p:txBody>
      </p:sp>
      <p:sp>
        <p:nvSpPr>
          <p:cNvPr id="33" name="Titre 1"/>
          <p:cNvSpPr>
            <a:spLocks noGrp="1"/>
          </p:cNvSpPr>
          <p:nvPr>
            <p:ph type="title"/>
          </p:nvPr>
        </p:nvSpPr>
        <p:spPr>
          <a:xfrm>
            <a:off x="1644649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 – NOTA FINAL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7" name="Forma livre 6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1644649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CONCLUSÃO</a:t>
            </a:r>
          </a:p>
        </p:txBody>
      </p:sp>
      <p:sp>
        <p:nvSpPr>
          <p:cNvPr id="4" name="Retângulo 3"/>
          <p:cNvSpPr/>
          <p:nvPr/>
        </p:nvSpPr>
        <p:spPr>
          <a:xfrm>
            <a:off x="1907704" y="1556792"/>
            <a:ext cx="7236296" cy="4104456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2071670" y="1641340"/>
            <a:ext cx="7072330" cy="5257800"/>
          </a:xfrm>
        </p:spPr>
        <p:txBody>
          <a:bodyPr rtlCol="0">
            <a:normAutofit fontScale="92500"/>
          </a:bodyPr>
          <a:lstStyle/>
          <a:p>
            <a:r>
              <a:rPr lang="en-US" sz="3000" dirty="0" smtClean="0"/>
              <a:t>APESAR DA FÓRMULA DE CÁLCULO COM OS PESOS, A NOTA FINAL NÃO FICA BEM CLARA;</a:t>
            </a:r>
          </a:p>
          <a:p>
            <a:endParaRPr lang="en-US" sz="3000" dirty="0" smtClean="0"/>
          </a:p>
          <a:p>
            <a:r>
              <a:rPr lang="en-US" sz="3000" dirty="0" smtClean="0"/>
              <a:t>O EDIFÍCIO GANHOU AVALIAÇÃO </a:t>
            </a:r>
            <a:r>
              <a:rPr lang="en-US" sz="3900" b="1" dirty="0" smtClean="0"/>
              <a:t>B</a:t>
            </a:r>
            <a:r>
              <a:rPr lang="en-US" sz="3000" dirty="0" smtClean="0"/>
              <a:t>, MAS NÃO APRESENTA NOTAS PARCIAIS ALTAS;</a:t>
            </a:r>
          </a:p>
          <a:p>
            <a:endParaRPr lang="en-US" sz="3000" dirty="0" smtClean="0"/>
          </a:p>
          <a:p>
            <a:r>
              <a:rPr lang="en-US" sz="3000" dirty="0" smtClean="0"/>
              <a:t>A CERTIFICAÇÃO ACABA ABRINDO PRECEDENTE PARA JULGAMENTO NEGATIVO.</a:t>
            </a:r>
          </a:p>
          <a:p>
            <a:pPr>
              <a:buNone/>
            </a:pPr>
            <a:endParaRPr lang="en-US" b="1" dirty="0" smtClean="0"/>
          </a:p>
          <a:p>
            <a:pPr>
              <a:buNone/>
            </a:pPr>
            <a:r>
              <a:rPr lang="pt-BR" dirty="0" smtClean="0"/>
              <a:t>	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vre 6"/>
          <p:cNvSpPr/>
          <p:nvPr/>
        </p:nvSpPr>
        <p:spPr>
          <a:xfrm>
            <a:off x="7348" y="3986990"/>
            <a:ext cx="6534497" cy="1426923"/>
          </a:xfrm>
          <a:custGeom>
            <a:avLst/>
            <a:gdLst>
              <a:gd name="connsiteX0" fmla="*/ 0 w 2933700"/>
              <a:gd name="connsiteY0" fmla="*/ 863600 h 863600"/>
              <a:gd name="connsiteX1" fmla="*/ 0 w 2933700"/>
              <a:gd name="connsiteY1" fmla="*/ 203200 h 863600"/>
              <a:gd name="connsiteX2" fmla="*/ 869950 w 2933700"/>
              <a:gd name="connsiteY2" fmla="*/ 0 h 863600"/>
              <a:gd name="connsiteX3" fmla="*/ 2927350 w 2933700"/>
              <a:gd name="connsiteY3" fmla="*/ 0 h 863600"/>
              <a:gd name="connsiteX4" fmla="*/ 2933700 w 2933700"/>
              <a:gd name="connsiteY4" fmla="*/ 406400 h 863600"/>
              <a:gd name="connsiteX5" fmla="*/ 838200 w 2933700"/>
              <a:gd name="connsiteY5" fmla="*/ 400050 h 863600"/>
              <a:gd name="connsiteX6" fmla="*/ 0 w 2933700"/>
              <a:gd name="connsiteY6" fmla="*/ 86360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33700" h="863600">
                <a:moveTo>
                  <a:pt x="0" y="863600"/>
                </a:moveTo>
                <a:lnTo>
                  <a:pt x="0" y="203200"/>
                </a:lnTo>
                <a:lnTo>
                  <a:pt x="869950" y="0"/>
                </a:lnTo>
                <a:lnTo>
                  <a:pt x="2927350" y="0"/>
                </a:lnTo>
                <a:lnTo>
                  <a:pt x="2933700" y="406400"/>
                </a:lnTo>
                <a:lnTo>
                  <a:pt x="838200" y="400050"/>
                </a:lnTo>
                <a:lnTo>
                  <a:pt x="0" y="863600"/>
                </a:lnTo>
                <a:close/>
              </a:path>
            </a:pathLst>
          </a:custGeom>
          <a:solidFill>
            <a:srgbClr val="D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orma livre 7"/>
          <p:cNvSpPr/>
          <p:nvPr/>
        </p:nvSpPr>
        <p:spPr>
          <a:xfrm>
            <a:off x="21492" y="2895814"/>
            <a:ext cx="6124323" cy="1080684"/>
          </a:xfrm>
          <a:custGeom>
            <a:avLst/>
            <a:gdLst>
              <a:gd name="connsiteX0" fmla="*/ 0 w 2749550"/>
              <a:gd name="connsiteY0" fmla="*/ 0 h 654050"/>
              <a:gd name="connsiteX1" fmla="*/ 0 w 2749550"/>
              <a:gd name="connsiteY1" fmla="*/ 654050 h 654050"/>
              <a:gd name="connsiteX2" fmla="*/ 793750 w 2749550"/>
              <a:gd name="connsiteY2" fmla="*/ 546100 h 654050"/>
              <a:gd name="connsiteX3" fmla="*/ 2743200 w 2749550"/>
              <a:gd name="connsiteY3" fmla="*/ 539750 h 654050"/>
              <a:gd name="connsiteX4" fmla="*/ 2749550 w 2749550"/>
              <a:gd name="connsiteY4" fmla="*/ 127000 h 654050"/>
              <a:gd name="connsiteX5" fmla="*/ 781050 w 2749550"/>
              <a:gd name="connsiteY5" fmla="*/ 139700 h 654050"/>
              <a:gd name="connsiteX6" fmla="*/ 0 w 2749550"/>
              <a:gd name="connsiteY6" fmla="*/ 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9550" h="654050">
                <a:moveTo>
                  <a:pt x="0" y="0"/>
                </a:moveTo>
                <a:lnTo>
                  <a:pt x="0" y="654050"/>
                </a:lnTo>
                <a:lnTo>
                  <a:pt x="793750" y="546100"/>
                </a:lnTo>
                <a:lnTo>
                  <a:pt x="2743200" y="539750"/>
                </a:lnTo>
                <a:cubicBezTo>
                  <a:pt x="2745317" y="402167"/>
                  <a:pt x="2747433" y="264583"/>
                  <a:pt x="2749550" y="127000"/>
                </a:cubicBezTo>
                <a:lnTo>
                  <a:pt x="781050" y="139700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Forma livre 8"/>
          <p:cNvSpPr/>
          <p:nvPr/>
        </p:nvSpPr>
        <p:spPr>
          <a:xfrm>
            <a:off x="7348" y="1468891"/>
            <a:ext cx="5332263" cy="1426923"/>
          </a:xfrm>
          <a:custGeom>
            <a:avLst/>
            <a:gdLst>
              <a:gd name="connsiteX0" fmla="*/ 0 w 2393950"/>
              <a:gd name="connsiteY0" fmla="*/ 603250 h 863600"/>
              <a:gd name="connsiteX1" fmla="*/ 0 w 2393950"/>
              <a:gd name="connsiteY1" fmla="*/ 603250 h 863600"/>
              <a:gd name="connsiteX2" fmla="*/ 6350 w 2393950"/>
              <a:gd name="connsiteY2" fmla="*/ 0 h 863600"/>
              <a:gd name="connsiteX3" fmla="*/ 812800 w 2393950"/>
              <a:gd name="connsiteY3" fmla="*/ 469900 h 863600"/>
              <a:gd name="connsiteX4" fmla="*/ 2393950 w 2393950"/>
              <a:gd name="connsiteY4" fmla="*/ 463550 h 863600"/>
              <a:gd name="connsiteX5" fmla="*/ 2393950 w 2393950"/>
              <a:gd name="connsiteY5" fmla="*/ 857250 h 863600"/>
              <a:gd name="connsiteX6" fmla="*/ 819150 w 2393950"/>
              <a:gd name="connsiteY6" fmla="*/ 863600 h 863600"/>
              <a:gd name="connsiteX7" fmla="*/ 0 w 2393950"/>
              <a:gd name="connsiteY7" fmla="*/ 60325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3950" h="863600">
                <a:moveTo>
                  <a:pt x="0" y="603250"/>
                </a:moveTo>
                <a:lnTo>
                  <a:pt x="0" y="603250"/>
                </a:lnTo>
                <a:cubicBezTo>
                  <a:pt x="2117" y="402167"/>
                  <a:pt x="4233" y="201083"/>
                  <a:pt x="6350" y="0"/>
                </a:cubicBezTo>
                <a:lnTo>
                  <a:pt x="812800" y="469900"/>
                </a:lnTo>
                <a:lnTo>
                  <a:pt x="2393950" y="463550"/>
                </a:lnTo>
                <a:lnTo>
                  <a:pt x="2393950" y="857250"/>
                </a:lnTo>
                <a:lnTo>
                  <a:pt x="819150" y="863600"/>
                </a:lnTo>
                <a:lnTo>
                  <a:pt x="0" y="603250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Forma livre 9"/>
          <p:cNvSpPr/>
          <p:nvPr/>
        </p:nvSpPr>
        <p:spPr>
          <a:xfrm>
            <a:off x="21492" y="0"/>
            <a:ext cx="4907945" cy="2024971"/>
          </a:xfrm>
          <a:custGeom>
            <a:avLst/>
            <a:gdLst>
              <a:gd name="connsiteX0" fmla="*/ 0 w 2203450"/>
              <a:gd name="connsiteY0" fmla="*/ 0 h 1225550"/>
              <a:gd name="connsiteX1" fmla="*/ 0 w 2203450"/>
              <a:gd name="connsiteY1" fmla="*/ 673100 h 1225550"/>
              <a:gd name="connsiteX2" fmla="*/ 831850 w 2203450"/>
              <a:gd name="connsiteY2" fmla="*/ 1225550 h 1225550"/>
              <a:gd name="connsiteX3" fmla="*/ 2197100 w 2203450"/>
              <a:gd name="connsiteY3" fmla="*/ 1225550 h 1225550"/>
              <a:gd name="connsiteX4" fmla="*/ 2203450 w 2203450"/>
              <a:gd name="connsiteY4" fmla="*/ 812800 h 1225550"/>
              <a:gd name="connsiteX5" fmla="*/ 787400 w 2203450"/>
              <a:gd name="connsiteY5" fmla="*/ 819150 h 1225550"/>
              <a:gd name="connsiteX6" fmla="*/ 0 w 2203450"/>
              <a:gd name="connsiteY6" fmla="*/ 0 h 122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3450" h="1225550">
                <a:moveTo>
                  <a:pt x="0" y="0"/>
                </a:moveTo>
                <a:lnTo>
                  <a:pt x="0" y="673100"/>
                </a:lnTo>
                <a:lnTo>
                  <a:pt x="831850" y="1225550"/>
                </a:lnTo>
                <a:lnTo>
                  <a:pt x="2197100" y="1225550"/>
                </a:lnTo>
                <a:cubicBezTo>
                  <a:pt x="2199217" y="1087967"/>
                  <a:pt x="2201333" y="950383"/>
                  <a:pt x="2203450" y="812800"/>
                </a:cubicBezTo>
                <a:lnTo>
                  <a:pt x="787400" y="819150"/>
                </a:lnTo>
                <a:lnTo>
                  <a:pt x="0" y="0"/>
                </a:lnTo>
                <a:close/>
              </a:path>
            </a:pathLst>
          </a:custGeom>
          <a:solidFill>
            <a:srgbClr val="008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 l="24304" t="30489" r="18555" b="8124"/>
          <a:stretch>
            <a:fillRect/>
          </a:stretch>
        </p:blipFill>
        <p:spPr bwMode="auto">
          <a:xfrm>
            <a:off x="2674908" y="1340768"/>
            <a:ext cx="6217572" cy="417646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555776" y="-99392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SELOS DE CERTIFICAÇÃO NO MUNDO</a:t>
            </a:r>
          </a:p>
        </p:txBody>
      </p:sp>
      <p:cxnSp>
        <p:nvCxnSpPr>
          <p:cNvPr id="14" name="Conector de seta reta 13"/>
          <p:cNvCxnSpPr/>
          <p:nvPr/>
        </p:nvCxnSpPr>
        <p:spPr bwMode="auto">
          <a:xfrm flipV="1">
            <a:off x="3635821" y="4509120"/>
            <a:ext cx="792163" cy="360363"/>
          </a:xfrm>
          <a:prstGeom prst="straightConnector1">
            <a:avLst/>
          </a:prstGeom>
          <a:noFill/>
          <a:ln w="158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" name="Forma livre 5"/>
          <p:cNvSpPr/>
          <p:nvPr/>
        </p:nvSpPr>
        <p:spPr>
          <a:xfrm>
            <a:off x="-6796" y="4857833"/>
            <a:ext cx="8899276" cy="2003987"/>
          </a:xfrm>
          <a:custGeom>
            <a:avLst/>
            <a:gdLst>
              <a:gd name="connsiteX0" fmla="*/ 12700 w 3251200"/>
              <a:gd name="connsiteY0" fmla="*/ 1212850 h 1212850"/>
              <a:gd name="connsiteX1" fmla="*/ 838200 w 3251200"/>
              <a:gd name="connsiteY1" fmla="*/ 387350 h 1212850"/>
              <a:gd name="connsiteX2" fmla="*/ 3251200 w 3251200"/>
              <a:gd name="connsiteY2" fmla="*/ 400050 h 1212850"/>
              <a:gd name="connsiteX3" fmla="*/ 3251200 w 3251200"/>
              <a:gd name="connsiteY3" fmla="*/ 0 h 1212850"/>
              <a:gd name="connsiteX4" fmla="*/ 857250 w 3251200"/>
              <a:gd name="connsiteY4" fmla="*/ 6350 h 1212850"/>
              <a:gd name="connsiteX5" fmla="*/ 0 w 3251200"/>
              <a:gd name="connsiteY5" fmla="*/ 590550 h 1212850"/>
              <a:gd name="connsiteX6" fmla="*/ 12700 w 3251200"/>
              <a:gd name="connsiteY6" fmla="*/ 1212850 h 121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51200" h="1212850">
                <a:moveTo>
                  <a:pt x="12700" y="1212850"/>
                </a:moveTo>
                <a:lnTo>
                  <a:pt x="838200" y="387350"/>
                </a:lnTo>
                <a:lnTo>
                  <a:pt x="3251200" y="400050"/>
                </a:lnTo>
                <a:lnTo>
                  <a:pt x="3251200" y="0"/>
                </a:lnTo>
                <a:lnTo>
                  <a:pt x="857250" y="6350"/>
                </a:lnTo>
                <a:lnTo>
                  <a:pt x="0" y="590550"/>
                </a:lnTo>
                <a:lnTo>
                  <a:pt x="12700" y="1212850"/>
                </a:lnTo>
                <a:close/>
              </a:path>
            </a:pathLst>
          </a:custGeom>
          <a:solidFill>
            <a:srgbClr val="C0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3" name="Picture 56" descr="seloProcel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1859" y="4863133"/>
            <a:ext cx="1412609" cy="4380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tângulo 14"/>
          <p:cNvSpPr/>
          <p:nvPr/>
        </p:nvSpPr>
        <p:spPr>
          <a:xfrm>
            <a:off x="2411760" y="4869160"/>
            <a:ext cx="1440160" cy="432048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4440942" y="5589240"/>
            <a:ext cx="45235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Fonte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: SANTOS, G.I, 2011 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apud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rPr>
              <a:t>Legrand</a:t>
            </a:r>
            <a:endParaRPr lang="fr-FR" dirty="0">
              <a:solidFill>
                <a:schemeClr val="tx1">
                  <a:lumMod val="85000"/>
                  <a:lumOff val="1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a livre 6"/>
          <p:cNvSpPr/>
          <p:nvPr/>
        </p:nvSpPr>
        <p:spPr>
          <a:xfrm>
            <a:off x="7348" y="3986990"/>
            <a:ext cx="6534497" cy="1426923"/>
          </a:xfrm>
          <a:custGeom>
            <a:avLst/>
            <a:gdLst>
              <a:gd name="connsiteX0" fmla="*/ 0 w 2933700"/>
              <a:gd name="connsiteY0" fmla="*/ 863600 h 863600"/>
              <a:gd name="connsiteX1" fmla="*/ 0 w 2933700"/>
              <a:gd name="connsiteY1" fmla="*/ 203200 h 863600"/>
              <a:gd name="connsiteX2" fmla="*/ 869950 w 2933700"/>
              <a:gd name="connsiteY2" fmla="*/ 0 h 863600"/>
              <a:gd name="connsiteX3" fmla="*/ 2927350 w 2933700"/>
              <a:gd name="connsiteY3" fmla="*/ 0 h 863600"/>
              <a:gd name="connsiteX4" fmla="*/ 2933700 w 2933700"/>
              <a:gd name="connsiteY4" fmla="*/ 406400 h 863600"/>
              <a:gd name="connsiteX5" fmla="*/ 838200 w 2933700"/>
              <a:gd name="connsiteY5" fmla="*/ 400050 h 863600"/>
              <a:gd name="connsiteX6" fmla="*/ 0 w 2933700"/>
              <a:gd name="connsiteY6" fmla="*/ 86360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33700" h="863600">
                <a:moveTo>
                  <a:pt x="0" y="863600"/>
                </a:moveTo>
                <a:lnTo>
                  <a:pt x="0" y="203200"/>
                </a:lnTo>
                <a:lnTo>
                  <a:pt x="869950" y="0"/>
                </a:lnTo>
                <a:lnTo>
                  <a:pt x="2927350" y="0"/>
                </a:lnTo>
                <a:lnTo>
                  <a:pt x="2933700" y="406400"/>
                </a:lnTo>
                <a:lnTo>
                  <a:pt x="838200" y="400050"/>
                </a:lnTo>
                <a:lnTo>
                  <a:pt x="0" y="863600"/>
                </a:lnTo>
                <a:close/>
              </a:path>
            </a:pathLst>
          </a:custGeom>
          <a:solidFill>
            <a:srgbClr val="DE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Forma livre 7"/>
          <p:cNvSpPr/>
          <p:nvPr/>
        </p:nvSpPr>
        <p:spPr>
          <a:xfrm>
            <a:off x="21492" y="2895814"/>
            <a:ext cx="6124323" cy="1080684"/>
          </a:xfrm>
          <a:custGeom>
            <a:avLst/>
            <a:gdLst>
              <a:gd name="connsiteX0" fmla="*/ 0 w 2749550"/>
              <a:gd name="connsiteY0" fmla="*/ 0 h 654050"/>
              <a:gd name="connsiteX1" fmla="*/ 0 w 2749550"/>
              <a:gd name="connsiteY1" fmla="*/ 654050 h 654050"/>
              <a:gd name="connsiteX2" fmla="*/ 793750 w 2749550"/>
              <a:gd name="connsiteY2" fmla="*/ 546100 h 654050"/>
              <a:gd name="connsiteX3" fmla="*/ 2743200 w 2749550"/>
              <a:gd name="connsiteY3" fmla="*/ 539750 h 654050"/>
              <a:gd name="connsiteX4" fmla="*/ 2749550 w 2749550"/>
              <a:gd name="connsiteY4" fmla="*/ 127000 h 654050"/>
              <a:gd name="connsiteX5" fmla="*/ 781050 w 2749550"/>
              <a:gd name="connsiteY5" fmla="*/ 139700 h 654050"/>
              <a:gd name="connsiteX6" fmla="*/ 0 w 2749550"/>
              <a:gd name="connsiteY6" fmla="*/ 0 h 65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9550" h="654050">
                <a:moveTo>
                  <a:pt x="0" y="0"/>
                </a:moveTo>
                <a:lnTo>
                  <a:pt x="0" y="654050"/>
                </a:lnTo>
                <a:lnTo>
                  <a:pt x="793750" y="546100"/>
                </a:lnTo>
                <a:lnTo>
                  <a:pt x="2743200" y="539750"/>
                </a:lnTo>
                <a:cubicBezTo>
                  <a:pt x="2745317" y="402167"/>
                  <a:pt x="2747433" y="264583"/>
                  <a:pt x="2749550" y="127000"/>
                </a:cubicBezTo>
                <a:lnTo>
                  <a:pt x="781050" y="139700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Forma livre 8"/>
          <p:cNvSpPr/>
          <p:nvPr/>
        </p:nvSpPr>
        <p:spPr>
          <a:xfrm>
            <a:off x="7348" y="1468891"/>
            <a:ext cx="5332263" cy="1426923"/>
          </a:xfrm>
          <a:custGeom>
            <a:avLst/>
            <a:gdLst>
              <a:gd name="connsiteX0" fmla="*/ 0 w 2393950"/>
              <a:gd name="connsiteY0" fmla="*/ 603250 h 863600"/>
              <a:gd name="connsiteX1" fmla="*/ 0 w 2393950"/>
              <a:gd name="connsiteY1" fmla="*/ 603250 h 863600"/>
              <a:gd name="connsiteX2" fmla="*/ 6350 w 2393950"/>
              <a:gd name="connsiteY2" fmla="*/ 0 h 863600"/>
              <a:gd name="connsiteX3" fmla="*/ 812800 w 2393950"/>
              <a:gd name="connsiteY3" fmla="*/ 469900 h 863600"/>
              <a:gd name="connsiteX4" fmla="*/ 2393950 w 2393950"/>
              <a:gd name="connsiteY4" fmla="*/ 463550 h 863600"/>
              <a:gd name="connsiteX5" fmla="*/ 2393950 w 2393950"/>
              <a:gd name="connsiteY5" fmla="*/ 857250 h 863600"/>
              <a:gd name="connsiteX6" fmla="*/ 819150 w 2393950"/>
              <a:gd name="connsiteY6" fmla="*/ 863600 h 863600"/>
              <a:gd name="connsiteX7" fmla="*/ 0 w 2393950"/>
              <a:gd name="connsiteY7" fmla="*/ 603250 h 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3950" h="863600">
                <a:moveTo>
                  <a:pt x="0" y="603250"/>
                </a:moveTo>
                <a:lnTo>
                  <a:pt x="0" y="603250"/>
                </a:lnTo>
                <a:cubicBezTo>
                  <a:pt x="2117" y="402167"/>
                  <a:pt x="4233" y="201083"/>
                  <a:pt x="6350" y="0"/>
                </a:cubicBezTo>
                <a:lnTo>
                  <a:pt x="812800" y="469900"/>
                </a:lnTo>
                <a:lnTo>
                  <a:pt x="2393950" y="463550"/>
                </a:lnTo>
                <a:lnTo>
                  <a:pt x="2393950" y="857250"/>
                </a:lnTo>
                <a:lnTo>
                  <a:pt x="819150" y="863600"/>
                </a:lnTo>
                <a:lnTo>
                  <a:pt x="0" y="603250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Forma livre 9"/>
          <p:cNvSpPr/>
          <p:nvPr/>
        </p:nvSpPr>
        <p:spPr>
          <a:xfrm>
            <a:off x="21492" y="0"/>
            <a:ext cx="4907945" cy="2024971"/>
          </a:xfrm>
          <a:custGeom>
            <a:avLst/>
            <a:gdLst>
              <a:gd name="connsiteX0" fmla="*/ 0 w 2203450"/>
              <a:gd name="connsiteY0" fmla="*/ 0 h 1225550"/>
              <a:gd name="connsiteX1" fmla="*/ 0 w 2203450"/>
              <a:gd name="connsiteY1" fmla="*/ 673100 h 1225550"/>
              <a:gd name="connsiteX2" fmla="*/ 831850 w 2203450"/>
              <a:gd name="connsiteY2" fmla="*/ 1225550 h 1225550"/>
              <a:gd name="connsiteX3" fmla="*/ 2197100 w 2203450"/>
              <a:gd name="connsiteY3" fmla="*/ 1225550 h 1225550"/>
              <a:gd name="connsiteX4" fmla="*/ 2203450 w 2203450"/>
              <a:gd name="connsiteY4" fmla="*/ 812800 h 1225550"/>
              <a:gd name="connsiteX5" fmla="*/ 787400 w 2203450"/>
              <a:gd name="connsiteY5" fmla="*/ 819150 h 1225550"/>
              <a:gd name="connsiteX6" fmla="*/ 0 w 2203450"/>
              <a:gd name="connsiteY6" fmla="*/ 0 h 122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3450" h="1225550">
                <a:moveTo>
                  <a:pt x="0" y="0"/>
                </a:moveTo>
                <a:lnTo>
                  <a:pt x="0" y="673100"/>
                </a:lnTo>
                <a:lnTo>
                  <a:pt x="831850" y="1225550"/>
                </a:lnTo>
                <a:lnTo>
                  <a:pt x="2197100" y="1225550"/>
                </a:lnTo>
                <a:cubicBezTo>
                  <a:pt x="2199217" y="1087967"/>
                  <a:pt x="2201333" y="950383"/>
                  <a:pt x="2203450" y="812800"/>
                </a:cubicBezTo>
                <a:lnTo>
                  <a:pt x="787400" y="819150"/>
                </a:lnTo>
                <a:lnTo>
                  <a:pt x="0" y="0"/>
                </a:lnTo>
                <a:close/>
              </a:path>
            </a:pathLst>
          </a:custGeom>
          <a:solidFill>
            <a:srgbClr val="008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itre 1"/>
          <p:cNvSpPr>
            <a:spLocks noGrp="1"/>
          </p:cNvSpPr>
          <p:nvPr>
            <p:ph type="title"/>
          </p:nvPr>
        </p:nvSpPr>
        <p:spPr>
          <a:xfrm>
            <a:off x="2555776" y="-99392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CONPET</a:t>
            </a:r>
            <a:endParaRPr lang="fr-CA" sz="4000" dirty="0" smtClean="0">
              <a:solidFill>
                <a:schemeClr val="bg1"/>
              </a:solidFill>
            </a:endParaRPr>
          </a:p>
        </p:txBody>
      </p:sp>
      <p:sp>
        <p:nvSpPr>
          <p:cNvPr id="6" name="Forma livre 5"/>
          <p:cNvSpPr/>
          <p:nvPr/>
        </p:nvSpPr>
        <p:spPr>
          <a:xfrm>
            <a:off x="-6796" y="4857833"/>
            <a:ext cx="8899276" cy="2003987"/>
          </a:xfrm>
          <a:custGeom>
            <a:avLst/>
            <a:gdLst>
              <a:gd name="connsiteX0" fmla="*/ 12700 w 3251200"/>
              <a:gd name="connsiteY0" fmla="*/ 1212850 h 1212850"/>
              <a:gd name="connsiteX1" fmla="*/ 838200 w 3251200"/>
              <a:gd name="connsiteY1" fmla="*/ 387350 h 1212850"/>
              <a:gd name="connsiteX2" fmla="*/ 3251200 w 3251200"/>
              <a:gd name="connsiteY2" fmla="*/ 400050 h 1212850"/>
              <a:gd name="connsiteX3" fmla="*/ 3251200 w 3251200"/>
              <a:gd name="connsiteY3" fmla="*/ 0 h 1212850"/>
              <a:gd name="connsiteX4" fmla="*/ 857250 w 3251200"/>
              <a:gd name="connsiteY4" fmla="*/ 6350 h 1212850"/>
              <a:gd name="connsiteX5" fmla="*/ 0 w 3251200"/>
              <a:gd name="connsiteY5" fmla="*/ 590550 h 1212850"/>
              <a:gd name="connsiteX6" fmla="*/ 12700 w 3251200"/>
              <a:gd name="connsiteY6" fmla="*/ 1212850 h 1212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51200" h="1212850">
                <a:moveTo>
                  <a:pt x="12700" y="1212850"/>
                </a:moveTo>
                <a:lnTo>
                  <a:pt x="838200" y="387350"/>
                </a:lnTo>
                <a:lnTo>
                  <a:pt x="3251200" y="400050"/>
                </a:lnTo>
                <a:lnTo>
                  <a:pt x="3251200" y="0"/>
                </a:lnTo>
                <a:lnTo>
                  <a:pt x="857250" y="6350"/>
                </a:lnTo>
                <a:lnTo>
                  <a:pt x="0" y="590550"/>
                </a:lnTo>
                <a:lnTo>
                  <a:pt x="12700" y="1212850"/>
                </a:lnTo>
                <a:close/>
              </a:path>
            </a:pathLst>
          </a:custGeom>
          <a:solidFill>
            <a:srgbClr val="C000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17"/>
          <p:cNvSpPr/>
          <p:nvPr/>
        </p:nvSpPr>
        <p:spPr>
          <a:xfrm>
            <a:off x="1979712" y="1628800"/>
            <a:ext cx="684076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800" dirty="0" smtClean="0"/>
              <a:t>O </a:t>
            </a:r>
            <a:r>
              <a:rPr lang="pt-BR" sz="2800" dirty="0" err="1"/>
              <a:t>Conpet</a:t>
            </a:r>
            <a:r>
              <a:rPr lang="pt-BR" sz="2800" dirty="0"/>
              <a:t> é o Programa nacional da racionalização do uso dos derivados do petróleo e do gás natural que visa racionalizar o consumo de óleo diesel e promover a melhoria da qualidade do ar, reduzindo a emissão de fumaça preta de ônibus e caminhões. </a:t>
            </a:r>
            <a:r>
              <a:rPr lang="pt-BR" sz="2800" dirty="0"/>
              <a:t>CONPET é um programa do Ministério de Minas e Energia coordenado e gerido com recursos técnicos e administrativos da Petrobras S.A</a:t>
            </a:r>
            <a:r>
              <a:rPr lang="pt-BR" sz="2800" dirty="0" smtClean="0"/>
              <a:t>.</a:t>
            </a:r>
            <a:endParaRPr lang="en-US" sz="2800" dirty="0"/>
          </a:p>
          <a:p>
            <a:pPr lvl="0" algn="just"/>
            <a:endParaRPr lang="fr-CA" sz="2800" dirty="0" smtClean="0"/>
          </a:p>
        </p:txBody>
      </p:sp>
      <p:pic>
        <p:nvPicPr>
          <p:cNvPr id="1027" name="Imagem 4" descr="box_sel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96402"/>
            <a:ext cx="1332398" cy="1332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484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10" name="Forma livre 9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Forma livre 11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Forma livre 12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Forma livre 13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" name="Retângulo 14"/>
          <p:cNvSpPr/>
          <p:nvPr/>
        </p:nvSpPr>
        <p:spPr>
          <a:xfrm>
            <a:off x="1907704" y="1628800"/>
            <a:ext cx="6912768" cy="4536504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1979712" y="1628800"/>
            <a:ext cx="6840760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pt-BR" sz="2800" dirty="0" smtClean="0"/>
              <a:t>Cumprimento dos requisitos contidos no Regulamento Técnico da Qualidade do Nível de Eficiência Energética de Edifícios </a:t>
            </a:r>
            <a:r>
              <a:rPr lang="pt-BR" sz="2800" b="1" dirty="0" smtClean="0"/>
              <a:t>COMERCIAIS</a:t>
            </a:r>
            <a:r>
              <a:rPr lang="pt-BR" sz="2800" dirty="0" smtClean="0"/>
              <a:t>, de Serviços e Públicos </a:t>
            </a:r>
            <a:r>
              <a:rPr lang="pt-BR" sz="2800" b="1" dirty="0" smtClean="0"/>
              <a:t>(RTQ-C); </a:t>
            </a:r>
          </a:p>
          <a:p>
            <a:pPr lvl="0" algn="just"/>
            <a:r>
              <a:rPr lang="pt-BR" b="1" u="sng" dirty="0" smtClean="0">
                <a:solidFill>
                  <a:schemeClr val="tx2">
                    <a:lumMod val="50000"/>
                  </a:schemeClr>
                </a:solidFill>
              </a:rPr>
              <a:t>* RTQ-R : USO RESIDENCIAL</a:t>
            </a:r>
          </a:p>
          <a:p>
            <a:pPr lvl="0" algn="just"/>
            <a:r>
              <a:rPr lang="pt-BR" sz="2800" dirty="0" smtClean="0"/>
              <a:t>O Regulamento de Avaliação de Conformidade do Nível de Eficiência Energética de Edifícios Comerciais, de Serviços e Públicos </a:t>
            </a:r>
            <a:r>
              <a:rPr lang="pt-BR" sz="2800" b="1" dirty="0" smtClean="0"/>
              <a:t>(RAC-C) </a:t>
            </a:r>
            <a:r>
              <a:rPr lang="pt-BR" sz="2800" dirty="0" smtClean="0"/>
              <a:t>para indicar o nível de eficiência.</a:t>
            </a:r>
          </a:p>
          <a:p>
            <a:pPr algn="just"/>
            <a:r>
              <a:rPr lang="pt-BR" b="1" u="sng" dirty="0" smtClean="0">
                <a:solidFill>
                  <a:schemeClr val="tx2">
                    <a:lumMod val="50000"/>
                  </a:schemeClr>
                </a:solidFill>
              </a:rPr>
              <a:t>* RTQ-R : USO RESIDENCIAL</a:t>
            </a:r>
          </a:p>
          <a:p>
            <a:pPr lvl="0" algn="just"/>
            <a:endParaRPr lang="fr-CA" sz="2800" dirty="0" smtClean="0"/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979712" y="0"/>
            <a:ext cx="6480720" cy="1571612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ETIQUETAGENS PROCEL EDIFICA</a:t>
            </a:r>
            <a:br>
              <a:rPr lang="fr-CA" sz="4000" dirty="0" smtClean="0">
                <a:solidFill>
                  <a:schemeClr val="bg1"/>
                </a:solidFill>
              </a:rPr>
            </a:br>
            <a:endParaRPr lang="fr-CA" sz="40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10" name="Forma livre 9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Forma livre 10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Forma livre 11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Forma livre 12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Forma livre 13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5" name="Retângulo 14"/>
          <p:cNvSpPr/>
          <p:nvPr/>
        </p:nvSpPr>
        <p:spPr>
          <a:xfrm>
            <a:off x="1907704" y="1628800"/>
            <a:ext cx="6912768" cy="5040560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Retângulo 5"/>
          <p:cNvSpPr/>
          <p:nvPr/>
        </p:nvSpPr>
        <p:spPr>
          <a:xfrm>
            <a:off x="2141984" y="1772816"/>
            <a:ext cx="6462464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pt-BR" sz="2800" dirty="0" smtClean="0"/>
              <a:t>OBTIDA POR CLASSIFICAÇÕES PARCIAIS DE:</a:t>
            </a:r>
          </a:p>
          <a:p>
            <a:pPr lvl="0"/>
            <a:endParaRPr lang="pt-BR" sz="2800" dirty="0" smtClean="0"/>
          </a:p>
          <a:p>
            <a:pPr lvl="0"/>
            <a:r>
              <a:rPr lang="pt-BR" sz="2800" b="1" dirty="0" smtClean="0"/>
              <a:t>            CLASSIFICAÇÃO = PONTUAÇÃO</a:t>
            </a:r>
          </a:p>
          <a:p>
            <a:pPr lvl="0">
              <a:buNone/>
            </a:pPr>
            <a:r>
              <a:rPr lang="en-US" sz="2800" dirty="0" smtClean="0"/>
              <a:t>	- ENVOLTÓRIA = 30%;</a:t>
            </a:r>
          </a:p>
          <a:p>
            <a:pPr lvl="0">
              <a:buNone/>
            </a:pPr>
            <a:endParaRPr lang="pt-BR" sz="2800" dirty="0" smtClean="0"/>
          </a:p>
          <a:p>
            <a:pPr lvl="0">
              <a:buNone/>
            </a:pPr>
            <a:r>
              <a:rPr lang="pt-BR" sz="2800" dirty="0" smtClean="0"/>
              <a:t>	- SISTEMA DE ILUMINAÇÃO = 30%;</a:t>
            </a:r>
          </a:p>
          <a:p>
            <a:pPr lvl="0">
              <a:buNone/>
            </a:pPr>
            <a:endParaRPr lang="pt-BR" sz="2800" dirty="0" smtClean="0"/>
          </a:p>
          <a:p>
            <a:pPr lvl="0">
              <a:buNone/>
            </a:pPr>
            <a:r>
              <a:rPr lang="pt-BR" sz="2800" dirty="0" smtClean="0"/>
              <a:t>	- SISTEMA DE CONDICIONAMENTO 	  DE AR = 40%.</a:t>
            </a:r>
          </a:p>
          <a:p>
            <a:pPr lvl="0">
              <a:buNone/>
            </a:pPr>
            <a:endParaRPr lang="pt-BR" sz="2800" dirty="0" smtClean="0"/>
          </a:p>
          <a:p>
            <a:pPr lvl="0">
              <a:buNone/>
            </a:pPr>
            <a:r>
              <a:rPr lang="pt-BR" sz="2800" dirty="0" smtClean="0"/>
              <a:t>	- BONIFICAÇÕES</a:t>
            </a:r>
          </a:p>
        </p:txBody>
      </p:sp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1835696" y="0"/>
            <a:ext cx="6480720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2636912"/>
            <a:ext cx="8640960" cy="518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tângulo 10"/>
          <p:cNvSpPr/>
          <p:nvPr/>
        </p:nvSpPr>
        <p:spPr>
          <a:xfrm>
            <a:off x="251520" y="3140969"/>
            <a:ext cx="8640960" cy="936104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/>
        </p:nvSpPr>
        <p:spPr>
          <a:xfrm>
            <a:off x="1619672" y="332656"/>
            <a:ext cx="646246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dirty="0" smtClean="0">
                <a:solidFill>
                  <a:schemeClr val="bg1"/>
                </a:solidFill>
              </a:rPr>
              <a:t>PONTUAÇÃO TOTAL</a:t>
            </a:r>
          </a:p>
          <a:p>
            <a:pPr>
              <a:buNone/>
            </a:pPr>
            <a:endParaRPr lang="pt-BR" sz="2800" dirty="0" smtClean="0"/>
          </a:p>
          <a:p>
            <a:pPr lvl="0"/>
            <a:endParaRPr lang="pt-BR" sz="2800" dirty="0" smtClean="0"/>
          </a:p>
        </p:txBody>
      </p:sp>
      <p:sp>
        <p:nvSpPr>
          <p:cNvPr id="13" name="Retângulo 12"/>
          <p:cNvSpPr/>
          <p:nvPr/>
        </p:nvSpPr>
        <p:spPr>
          <a:xfrm>
            <a:off x="251520" y="3573017"/>
            <a:ext cx="86409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pt-BR" sz="2000" b="1" dirty="0" smtClean="0"/>
              <a:t> PT </a:t>
            </a:r>
            <a:r>
              <a:rPr lang="pt-BR" sz="2000" dirty="0" smtClean="0"/>
              <a:t>=         </a:t>
            </a:r>
            <a:r>
              <a:rPr lang="pt-BR" sz="1600" b="1" dirty="0" smtClean="0"/>
              <a:t>0,30 (Envoltória)      </a:t>
            </a:r>
            <a:r>
              <a:rPr lang="pt-BR" sz="2000" dirty="0" smtClean="0"/>
              <a:t>+   </a:t>
            </a:r>
            <a:r>
              <a:rPr lang="pt-BR" sz="1600" b="1" dirty="0" smtClean="0"/>
              <a:t>0,30 (Iluminação)</a:t>
            </a:r>
            <a:r>
              <a:rPr lang="pt-BR" sz="1600" dirty="0" smtClean="0"/>
              <a:t>  </a:t>
            </a:r>
            <a:r>
              <a:rPr lang="pt-BR" sz="2000" dirty="0" smtClean="0"/>
              <a:t>+   </a:t>
            </a:r>
            <a:r>
              <a:rPr lang="pt-BR" sz="1600" b="1" dirty="0" smtClean="0"/>
              <a:t>0,40 (Sistema de Cond. de Ar)    </a:t>
            </a:r>
            <a:r>
              <a:rPr lang="pt-BR" sz="2000" dirty="0" smtClean="0"/>
              <a:t>+</a:t>
            </a:r>
            <a:r>
              <a:rPr lang="pt-BR" sz="1600" dirty="0" smtClean="0"/>
              <a:t>   </a:t>
            </a:r>
            <a:r>
              <a:rPr lang="pt-BR" sz="1600" b="1" dirty="0" smtClean="0"/>
              <a:t>BONUS</a:t>
            </a:r>
            <a:endParaRPr lang="pt-BR" sz="2000" b="1" dirty="0" smtClean="0"/>
          </a:p>
          <a:p>
            <a:pPr lvl="0"/>
            <a:endParaRPr lang="pt-BR" sz="2800" dirty="0" smtClean="0"/>
          </a:p>
        </p:txBody>
      </p:sp>
      <p:cxnSp>
        <p:nvCxnSpPr>
          <p:cNvPr id="17" name="Conector de seta reta 16"/>
          <p:cNvCxnSpPr/>
          <p:nvPr/>
        </p:nvCxnSpPr>
        <p:spPr>
          <a:xfrm>
            <a:off x="2123728" y="3140969"/>
            <a:ext cx="0" cy="50405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/>
          <p:cNvCxnSpPr/>
          <p:nvPr/>
        </p:nvCxnSpPr>
        <p:spPr>
          <a:xfrm>
            <a:off x="4427984" y="3140969"/>
            <a:ext cx="0" cy="50405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/>
          <p:cNvCxnSpPr/>
          <p:nvPr/>
        </p:nvCxnSpPr>
        <p:spPr>
          <a:xfrm>
            <a:off x="6228184" y="3140969"/>
            <a:ext cx="0" cy="50405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/>
          <p:cNvCxnSpPr/>
          <p:nvPr/>
        </p:nvCxnSpPr>
        <p:spPr>
          <a:xfrm>
            <a:off x="8676456" y="3140969"/>
            <a:ext cx="0" cy="504056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32" name="Forma livre 31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3" name="Forma livre 32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Forma livre 33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5" name="Forma livre 34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6" name="Forma livre 35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971600" y="0"/>
            <a:ext cx="7416824" cy="1571612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fr-CA" sz="4000" dirty="0" smtClean="0">
                <a:solidFill>
                  <a:schemeClr val="bg1"/>
                </a:solidFill>
              </a:rPr>
              <a:t>PROCEL EDIFICA - ENVOLTÓRIA</a:t>
            </a:r>
            <a:br>
              <a:rPr lang="fr-CA" sz="4000" dirty="0" smtClean="0">
                <a:solidFill>
                  <a:schemeClr val="bg1"/>
                </a:solidFill>
              </a:rPr>
            </a:br>
            <a:r>
              <a:rPr lang="fr-CA" sz="4000" dirty="0" smtClean="0">
                <a:solidFill>
                  <a:schemeClr val="bg1"/>
                </a:solidFill>
              </a:rPr>
              <a:t>RTQ-C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35156" t="24375" r="26758" b="17500"/>
          <a:stretch>
            <a:fillRect/>
          </a:stretch>
        </p:blipFill>
        <p:spPr bwMode="auto">
          <a:xfrm>
            <a:off x="1115616" y="1556792"/>
            <a:ext cx="3623628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tângulo 16"/>
          <p:cNvSpPr/>
          <p:nvPr/>
        </p:nvSpPr>
        <p:spPr>
          <a:xfrm>
            <a:off x="4932040" y="1556792"/>
            <a:ext cx="4057651" cy="3456384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14"/>
          <p:cNvSpPr/>
          <p:nvPr/>
        </p:nvSpPr>
        <p:spPr>
          <a:xfrm>
            <a:off x="4962901" y="1556792"/>
            <a:ext cx="400158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 smtClean="0"/>
              <a:t>PRÉ-REQUISITOS PARA ENVOLTÓRIA: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 lvl="0">
              <a:buFont typeface="Arial" pitchFamily="34" charset="0"/>
              <a:buChar char="•"/>
            </a:pPr>
            <a:r>
              <a:rPr lang="pt-BR" dirty="0" smtClean="0"/>
              <a:t>TAMANHO DAS ABERTURAS PARA VENTILAÇÃO; </a:t>
            </a:r>
          </a:p>
          <a:p>
            <a:pPr lvl="0">
              <a:buFont typeface="Arial" pitchFamily="34" charset="0"/>
              <a:buChar char="•"/>
            </a:pPr>
            <a:endParaRPr lang="pt-BR" dirty="0" smtClean="0"/>
          </a:p>
          <a:p>
            <a:pPr lvl="0">
              <a:buFont typeface="Arial" pitchFamily="34" charset="0"/>
              <a:buChar char="•"/>
            </a:pPr>
            <a:r>
              <a:rPr lang="pt-BR" dirty="0" smtClean="0"/>
              <a:t>PROTEÇÃO DAS ABERTURAS; </a:t>
            </a:r>
          </a:p>
          <a:p>
            <a:pPr lvl="0">
              <a:buFont typeface="Arial" pitchFamily="34" charset="0"/>
              <a:buChar char="•"/>
            </a:pPr>
            <a:endParaRPr lang="pt-BR" dirty="0" smtClean="0"/>
          </a:p>
          <a:p>
            <a:pPr lvl="0">
              <a:buFont typeface="Arial" pitchFamily="34" charset="0"/>
              <a:buChar char="•"/>
            </a:pPr>
            <a:r>
              <a:rPr lang="pt-BR" dirty="0" smtClean="0"/>
              <a:t>VEDAÇÕES EXTERNAS (TIPO DE PAREDE EXTERNA E TIPO DE COBERTURA); </a:t>
            </a:r>
          </a:p>
          <a:p>
            <a:pPr lvl="0">
              <a:buFont typeface="Arial" pitchFamily="34" charset="0"/>
              <a:buChar char="•"/>
            </a:pPr>
            <a:endParaRPr lang="pt-BR" dirty="0" smtClean="0"/>
          </a:p>
          <a:p>
            <a:pPr lvl="0">
              <a:buFont typeface="Arial" pitchFamily="34" charset="0"/>
              <a:buChar char="•"/>
            </a:pPr>
            <a:r>
              <a:rPr lang="pt-BR" dirty="0" smtClean="0"/>
              <a:t>ESTRATÉGIAS DE CONDICIONAMENTO TÉRMICO PASSIVO. 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/>
          <a:srcRect l="17578" t="50625" r="15039" b="22187"/>
          <a:stretch>
            <a:fillRect/>
          </a:stretch>
        </p:blipFill>
        <p:spPr bwMode="auto">
          <a:xfrm>
            <a:off x="1115616" y="5085184"/>
            <a:ext cx="4680520" cy="1180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12" name="Retângulo 11"/>
          <p:cNvSpPr/>
          <p:nvPr/>
        </p:nvSpPr>
        <p:spPr>
          <a:xfrm>
            <a:off x="2160240" y="188640"/>
            <a:ext cx="752432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4000" dirty="0" smtClean="0">
                <a:solidFill>
                  <a:schemeClr val="bg1"/>
                </a:solidFill>
              </a:rPr>
              <a:t>PROCEL EDIFICA – ILUMINAÇÃO</a:t>
            </a:r>
          </a:p>
          <a:p>
            <a:r>
              <a:rPr lang="fr-CA" sz="3600" dirty="0" smtClean="0">
                <a:solidFill>
                  <a:schemeClr val="bg1"/>
                </a:solidFill>
              </a:rPr>
              <a:t>RTQ-C</a:t>
            </a:r>
            <a:endParaRPr lang="pt-BR" sz="3600" dirty="0" smtClean="0"/>
          </a:p>
          <a:p>
            <a:pPr lvl="0"/>
            <a:endParaRPr lang="pt-BR" sz="2800" dirty="0" smtClean="0"/>
          </a:p>
        </p:txBody>
      </p:sp>
      <p:sp>
        <p:nvSpPr>
          <p:cNvPr id="22" name="Retângulo 21"/>
          <p:cNvSpPr/>
          <p:nvPr/>
        </p:nvSpPr>
        <p:spPr>
          <a:xfrm>
            <a:off x="2267744" y="1556792"/>
            <a:ext cx="6624736" cy="3816424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2231232" y="1556792"/>
            <a:ext cx="6912768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/>
              <a:t>PRÉ-REQUISITOS PARA ILUMINAÇÃO:</a:t>
            </a:r>
          </a:p>
          <a:p>
            <a:endParaRPr lang="en-US" sz="2000" dirty="0" smtClean="0"/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1: </a:t>
            </a:r>
            <a:r>
              <a:rPr lang="pt-BR" sz="2000" dirty="0" smtClean="0"/>
              <a:t>DIVISÃO DOS CIRCUITOS</a:t>
            </a:r>
          </a:p>
          <a:p>
            <a:endParaRPr lang="pt-BR" sz="2000" dirty="0" smtClean="0"/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2: </a:t>
            </a:r>
            <a:r>
              <a:rPr lang="pt-BR" sz="2000" dirty="0" smtClean="0"/>
              <a:t>CONTRIBUIÇÃO DA LUZ NATURAL</a:t>
            </a:r>
          </a:p>
          <a:p>
            <a:r>
              <a:rPr lang="pt-BR" sz="2000" dirty="0" smtClean="0"/>
              <a:t>	AMBIENTES COM JANELAS VOLTADAS PARA O 	AMBIENTE EXTERNO;</a:t>
            </a:r>
          </a:p>
          <a:p>
            <a:endParaRPr lang="pt-BR" sz="2000" dirty="0" smtClean="0"/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3</a:t>
            </a:r>
            <a:r>
              <a:rPr lang="pt-BR" sz="2000" dirty="0" smtClean="0"/>
              <a:t>: DESLIGAMENTO AUTOMÁTICO DO 	SISTEMA 	                 DE ILUMINAÇÃO</a:t>
            </a:r>
          </a:p>
          <a:p>
            <a:pPr>
              <a:buNone/>
            </a:pPr>
            <a:endParaRPr lang="pt-BR" sz="2000" dirty="0" smtClean="0"/>
          </a:p>
          <a:p>
            <a:r>
              <a:rPr lang="pt-BR" sz="2000" dirty="0" smtClean="0"/>
              <a:t>	AMBIENTES MAIORES QUE 250M² </a:t>
            </a:r>
            <a:r>
              <a:rPr lang="pt-BR" dirty="0" smtClean="0"/>
              <a:t>	</a:t>
            </a:r>
          </a:p>
          <a:p>
            <a:pPr>
              <a:buNone/>
            </a:pPr>
            <a:endParaRPr lang="pt-BR" dirty="0" smtClean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7"/>
          <p:cNvGrpSpPr/>
          <p:nvPr/>
        </p:nvGrpSpPr>
        <p:grpSpPr>
          <a:xfrm>
            <a:off x="-6796" y="0"/>
            <a:ext cx="7241694" cy="6861820"/>
            <a:chOff x="-6796" y="2708920"/>
            <a:chExt cx="3251200" cy="4152900"/>
          </a:xfrm>
        </p:grpSpPr>
        <p:sp>
          <p:nvSpPr>
            <p:cNvPr id="6" name="Forma livre 5"/>
            <p:cNvSpPr/>
            <p:nvPr/>
          </p:nvSpPr>
          <p:spPr>
            <a:xfrm>
              <a:off x="-6796" y="5648970"/>
              <a:ext cx="3251200" cy="1212850"/>
            </a:xfrm>
            <a:custGeom>
              <a:avLst/>
              <a:gdLst>
                <a:gd name="connsiteX0" fmla="*/ 12700 w 3251200"/>
                <a:gd name="connsiteY0" fmla="*/ 1212850 h 1212850"/>
                <a:gd name="connsiteX1" fmla="*/ 838200 w 3251200"/>
                <a:gd name="connsiteY1" fmla="*/ 387350 h 1212850"/>
                <a:gd name="connsiteX2" fmla="*/ 3251200 w 3251200"/>
                <a:gd name="connsiteY2" fmla="*/ 400050 h 1212850"/>
                <a:gd name="connsiteX3" fmla="*/ 3251200 w 3251200"/>
                <a:gd name="connsiteY3" fmla="*/ 0 h 1212850"/>
                <a:gd name="connsiteX4" fmla="*/ 857250 w 3251200"/>
                <a:gd name="connsiteY4" fmla="*/ 6350 h 1212850"/>
                <a:gd name="connsiteX5" fmla="*/ 0 w 3251200"/>
                <a:gd name="connsiteY5" fmla="*/ 590550 h 1212850"/>
                <a:gd name="connsiteX6" fmla="*/ 12700 w 3251200"/>
                <a:gd name="connsiteY6" fmla="*/ 1212850 h 1212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51200" h="1212850">
                  <a:moveTo>
                    <a:pt x="12700" y="1212850"/>
                  </a:moveTo>
                  <a:lnTo>
                    <a:pt x="838200" y="387350"/>
                  </a:lnTo>
                  <a:lnTo>
                    <a:pt x="3251200" y="400050"/>
                  </a:lnTo>
                  <a:lnTo>
                    <a:pt x="3251200" y="0"/>
                  </a:lnTo>
                  <a:lnTo>
                    <a:pt x="857250" y="6350"/>
                  </a:lnTo>
                  <a:lnTo>
                    <a:pt x="0" y="590550"/>
                  </a:lnTo>
                  <a:lnTo>
                    <a:pt x="12700" y="1212850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Forma livre 6"/>
            <p:cNvSpPr/>
            <p:nvPr/>
          </p:nvSpPr>
          <p:spPr>
            <a:xfrm>
              <a:off x="-446" y="5121920"/>
              <a:ext cx="2933700" cy="863600"/>
            </a:xfrm>
            <a:custGeom>
              <a:avLst/>
              <a:gdLst>
                <a:gd name="connsiteX0" fmla="*/ 0 w 2933700"/>
                <a:gd name="connsiteY0" fmla="*/ 863600 h 863600"/>
                <a:gd name="connsiteX1" fmla="*/ 0 w 2933700"/>
                <a:gd name="connsiteY1" fmla="*/ 203200 h 863600"/>
                <a:gd name="connsiteX2" fmla="*/ 869950 w 2933700"/>
                <a:gd name="connsiteY2" fmla="*/ 0 h 863600"/>
                <a:gd name="connsiteX3" fmla="*/ 2927350 w 2933700"/>
                <a:gd name="connsiteY3" fmla="*/ 0 h 863600"/>
                <a:gd name="connsiteX4" fmla="*/ 2933700 w 2933700"/>
                <a:gd name="connsiteY4" fmla="*/ 406400 h 863600"/>
                <a:gd name="connsiteX5" fmla="*/ 838200 w 2933700"/>
                <a:gd name="connsiteY5" fmla="*/ 400050 h 863600"/>
                <a:gd name="connsiteX6" fmla="*/ 0 w 2933700"/>
                <a:gd name="connsiteY6" fmla="*/ 86360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33700" h="863600">
                  <a:moveTo>
                    <a:pt x="0" y="863600"/>
                  </a:moveTo>
                  <a:lnTo>
                    <a:pt x="0" y="203200"/>
                  </a:lnTo>
                  <a:lnTo>
                    <a:pt x="869950" y="0"/>
                  </a:lnTo>
                  <a:lnTo>
                    <a:pt x="2927350" y="0"/>
                  </a:lnTo>
                  <a:lnTo>
                    <a:pt x="2933700" y="406400"/>
                  </a:lnTo>
                  <a:lnTo>
                    <a:pt x="838200" y="400050"/>
                  </a:lnTo>
                  <a:lnTo>
                    <a:pt x="0" y="863600"/>
                  </a:lnTo>
                  <a:close/>
                </a:path>
              </a:pathLst>
            </a:custGeom>
            <a:solidFill>
              <a:srgbClr val="DEA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" name="Forma livre 7"/>
            <p:cNvSpPr/>
            <p:nvPr/>
          </p:nvSpPr>
          <p:spPr>
            <a:xfrm>
              <a:off x="5904" y="4461520"/>
              <a:ext cx="2749550" cy="654050"/>
            </a:xfrm>
            <a:custGeom>
              <a:avLst/>
              <a:gdLst>
                <a:gd name="connsiteX0" fmla="*/ 0 w 2749550"/>
                <a:gd name="connsiteY0" fmla="*/ 0 h 654050"/>
                <a:gd name="connsiteX1" fmla="*/ 0 w 2749550"/>
                <a:gd name="connsiteY1" fmla="*/ 654050 h 654050"/>
                <a:gd name="connsiteX2" fmla="*/ 793750 w 2749550"/>
                <a:gd name="connsiteY2" fmla="*/ 546100 h 654050"/>
                <a:gd name="connsiteX3" fmla="*/ 2743200 w 2749550"/>
                <a:gd name="connsiteY3" fmla="*/ 539750 h 654050"/>
                <a:gd name="connsiteX4" fmla="*/ 2749550 w 2749550"/>
                <a:gd name="connsiteY4" fmla="*/ 127000 h 654050"/>
                <a:gd name="connsiteX5" fmla="*/ 781050 w 2749550"/>
                <a:gd name="connsiteY5" fmla="*/ 139700 h 654050"/>
                <a:gd name="connsiteX6" fmla="*/ 0 w 2749550"/>
                <a:gd name="connsiteY6" fmla="*/ 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49550" h="654050">
                  <a:moveTo>
                    <a:pt x="0" y="0"/>
                  </a:moveTo>
                  <a:lnTo>
                    <a:pt x="0" y="654050"/>
                  </a:lnTo>
                  <a:lnTo>
                    <a:pt x="793750" y="546100"/>
                  </a:lnTo>
                  <a:lnTo>
                    <a:pt x="2743200" y="539750"/>
                  </a:lnTo>
                  <a:cubicBezTo>
                    <a:pt x="2745317" y="402167"/>
                    <a:pt x="2747433" y="264583"/>
                    <a:pt x="2749550" y="127000"/>
                  </a:cubicBezTo>
                  <a:lnTo>
                    <a:pt x="781050" y="1397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Forma livre 8"/>
            <p:cNvSpPr/>
            <p:nvPr/>
          </p:nvSpPr>
          <p:spPr>
            <a:xfrm>
              <a:off x="-446" y="3597920"/>
              <a:ext cx="2393950" cy="863600"/>
            </a:xfrm>
            <a:custGeom>
              <a:avLst/>
              <a:gdLst>
                <a:gd name="connsiteX0" fmla="*/ 0 w 2393950"/>
                <a:gd name="connsiteY0" fmla="*/ 603250 h 863600"/>
                <a:gd name="connsiteX1" fmla="*/ 0 w 2393950"/>
                <a:gd name="connsiteY1" fmla="*/ 603250 h 863600"/>
                <a:gd name="connsiteX2" fmla="*/ 6350 w 2393950"/>
                <a:gd name="connsiteY2" fmla="*/ 0 h 863600"/>
                <a:gd name="connsiteX3" fmla="*/ 812800 w 2393950"/>
                <a:gd name="connsiteY3" fmla="*/ 469900 h 863600"/>
                <a:gd name="connsiteX4" fmla="*/ 2393950 w 2393950"/>
                <a:gd name="connsiteY4" fmla="*/ 463550 h 863600"/>
                <a:gd name="connsiteX5" fmla="*/ 2393950 w 2393950"/>
                <a:gd name="connsiteY5" fmla="*/ 857250 h 863600"/>
                <a:gd name="connsiteX6" fmla="*/ 819150 w 2393950"/>
                <a:gd name="connsiteY6" fmla="*/ 863600 h 863600"/>
                <a:gd name="connsiteX7" fmla="*/ 0 w 2393950"/>
                <a:gd name="connsiteY7" fmla="*/ 603250 h 86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3950" h="863600">
                  <a:moveTo>
                    <a:pt x="0" y="603250"/>
                  </a:moveTo>
                  <a:lnTo>
                    <a:pt x="0" y="603250"/>
                  </a:lnTo>
                  <a:cubicBezTo>
                    <a:pt x="2117" y="402167"/>
                    <a:pt x="4233" y="201083"/>
                    <a:pt x="6350" y="0"/>
                  </a:cubicBezTo>
                  <a:lnTo>
                    <a:pt x="812800" y="469900"/>
                  </a:lnTo>
                  <a:lnTo>
                    <a:pt x="2393950" y="463550"/>
                  </a:lnTo>
                  <a:lnTo>
                    <a:pt x="2393950" y="857250"/>
                  </a:lnTo>
                  <a:lnTo>
                    <a:pt x="819150" y="863600"/>
                  </a:lnTo>
                  <a:lnTo>
                    <a:pt x="0" y="603250"/>
                  </a:ln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Forma livre 9"/>
            <p:cNvSpPr/>
            <p:nvPr/>
          </p:nvSpPr>
          <p:spPr>
            <a:xfrm>
              <a:off x="5904" y="2708920"/>
              <a:ext cx="2203450" cy="1225550"/>
            </a:xfrm>
            <a:custGeom>
              <a:avLst/>
              <a:gdLst>
                <a:gd name="connsiteX0" fmla="*/ 0 w 2203450"/>
                <a:gd name="connsiteY0" fmla="*/ 0 h 1225550"/>
                <a:gd name="connsiteX1" fmla="*/ 0 w 2203450"/>
                <a:gd name="connsiteY1" fmla="*/ 673100 h 1225550"/>
                <a:gd name="connsiteX2" fmla="*/ 831850 w 2203450"/>
                <a:gd name="connsiteY2" fmla="*/ 1225550 h 1225550"/>
                <a:gd name="connsiteX3" fmla="*/ 2197100 w 2203450"/>
                <a:gd name="connsiteY3" fmla="*/ 1225550 h 1225550"/>
                <a:gd name="connsiteX4" fmla="*/ 2203450 w 2203450"/>
                <a:gd name="connsiteY4" fmla="*/ 812800 h 1225550"/>
                <a:gd name="connsiteX5" fmla="*/ 787400 w 2203450"/>
                <a:gd name="connsiteY5" fmla="*/ 819150 h 1225550"/>
                <a:gd name="connsiteX6" fmla="*/ 0 w 2203450"/>
                <a:gd name="connsiteY6" fmla="*/ 0 h 122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3450" h="1225550">
                  <a:moveTo>
                    <a:pt x="0" y="0"/>
                  </a:moveTo>
                  <a:lnTo>
                    <a:pt x="0" y="673100"/>
                  </a:lnTo>
                  <a:lnTo>
                    <a:pt x="831850" y="1225550"/>
                  </a:lnTo>
                  <a:lnTo>
                    <a:pt x="2197100" y="1225550"/>
                  </a:lnTo>
                  <a:cubicBezTo>
                    <a:pt x="2199217" y="1087967"/>
                    <a:pt x="2201333" y="950383"/>
                    <a:pt x="2203450" y="812800"/>
                  </a:cubicBezTo>
                  <a:lnTo>
                    <a:pt x="787400" y="8191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2" name="Retângulo 21"/>
          <p:cNvSpPr/>
          <p:nvPr/>
        </p:nvSpPr>
        <p:spPr>
          <a:xfrm>
            <a:off x="539552" y="1609050"/>
            <a:ext cx="7920880" cy="3600400"/>
          </a:xfrm>
          <a:prstGeom prst="rect">
            <a:avLst/>
          </a:prstGeom>
          <a:solidFill>
            <a:schemeClr val="bg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/>
          <p:cNvSpPr/>
          <p:nvPr/>
        </p:nvSpPr>
        <p:spPr>
          <a:xfrm>
            <a:off x="539552" y="1681058"/>
            <a:ext cx="7848872" cy="4124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 smtClean="0"/>
              <a:t>PRÉ-REQUISITOS PARA ILUMINAÇÃO:</a:t>
            </a:r>
          </a:p>
          <a:p>
            <a:endParaRPr lang="en-US" sz="2000" dirty="0" smtClean="0"/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1: </a:t>
            </a:r>
            <a:r>
              <a:rPr lang="pt-BR" sz="2000" dirty="0" smtClean="0"/>
              <a:t>SOMBREAMENTO E PROTEÇÃO CONTRA INTEMPÉRIES;</a:t>
            </a:r>
          </a:p>
          <a:p>
            <a:endParaRPr lang="pt-BR" sz="2000" dirty="0" smtClean="0"/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2: </a:t>
            </a:r>
            <a:r>
              <a:rPr lang="pt-BR" sz="2000" dirty="0" smtClean="0"/>
              <a:t>POSSUIR EFICIÊNCIA AVALIADA PELO PBE/INMETRO DE       		ACORDO COM AS NORMAS BRASILEIRAS E/OU 			INTERNACIONAIS;</a:t>
            </a:r>
          </a:p>
          <a:p>
            <a:r>
              <a:rPr lang="pt-BR" sz="2000" dirty="0" smtClean="0"/>
              <a:t>	</a:t>
            </a:r>
            <a:r>
              <a:rPr lang="pt-BR" sz="2000" b="1" dirty="0" smtClean="0"/>
              <a:t>- ITEM 3</a:t>
            </a:r>
            <a:r>
              <a:rPr lang="pt-BR" sz="2000" dirty="0" smtClean="0"/>
              <a:t>: RESPEITAR NORMAS TÉCNICAS VIGENTES;</a:t>
            </a:r>
          </a:p>
          <a:p>
            <a:endParaRPr lang="pt-BR" sz="2000" dirty="0" smtClean="0"/>
          </a:p>
          <a:p>
            <a:r>
              <a:rPr lang="pt-BR" sz="2000" b="1" dirty="0" smtClean="0"/>
              <a:t>	- ITEM 4</a:t>
            </a:r>
            <a:r>
              <a:rPr lang="pt-BR" sz="2000" dirty="0" smtClean="0"/>
              <a:t>: DEVE IMPEDIR REAQUECIMENTO  SIMULTÂNEO;</a:t>
            </a:r>
          </a:p>
          <a:p>
            <a:pPr>
              <a:buNone/>
            </a:pPr>
            <a:endParaRPr lang="pt-BR" sz="2000" dirty="0" smtClean="0"/>
          </a:p>
          <a:p>
            <a:r>
              <a:rPr lang="pt-BR" sz="2000" dirty="0" smtClean="0"/>
              <a:t>	</a:t>
            </a:r>
            <a:endParaRPr lang="pt-BR" dirty="0" smtClean="0"/>
          </a:p>
          <a:p>
            <a:pPr>
              <a:buNone/>
            </a:pPr>
            <a:endParaRPr lang="pt-BR" dirty="0" smtClean="0"/>
          </a:p>
        </p:txBody>
      </p:sp>
      <p:sp>
        <p:nvSpPr>
          <p:cNvPr id="11" name="Retângulo 10"/>
          <p:cNvSpPr/>
          <p:nvPr/>
        </p:nvSpPr>
        <p:spPr>
          <a:xfrm>
            <a:off x="251520" y="213608"/>
            <a:ext cx="892899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3600" dirty="0" smtClean="0">
                <a:solidFill>
                  <a:schemeClr val="bg1"/>
                </a:solidFill>
              </a:rPr>
              <a:t>PROCEL EDIFICA – CONDICIONAMENTO DE AR</a:t>
            </a:r>
          </a:p>
          <a:p>
            <a:r>
              <a:rPr lang="fr-CA" sz="3600" dirty="0" smtClean="0">
                <a:solidFill>
                  <a:schemeClr val="bg1"/>
                </a:solidFill>
              </a:rPr>
              <a:t>RTQ-C</a:t>
            </a:r>
            <a:endParaRPr lang="pt-BR" sz="3600" dirty="0" smtClean="0"/>
          </a:p>
          <a:p>
            <a:pPr lvl="0"/>
            <a:endParaRPr lang="pt-BR" sz="2800" dirty="0" smtClean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3se2G4IEigh8M3GYVPB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1</TotalTime>
  <Words>387</Words>
  <Application>Microsoft Office PowerPoint</Application>
  <PresentationFormat>Apresentação na tela (4:3)</PresentationFormat>
  <Paragraphs>102</Paragraphs>
  <Slides>17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18" baseType="lpstr">
      <vt:lpstr>Tema do Office</vt:lpstr>
      <vt:lpstr>Apresentação do PowerPoint</vt:lpstr>
      <vt:lpstr>SELOS DE CERTIFICAÇÃO NO MUNDO</vt:lpstr>
      <vt:lpstr>CONPET</vt:lpstr>
      <vt:lpstr>ETIQUETAGENS PROCEL EDIFICA </vt:lpstr>
      <vt:lpstr>PROCEL EDIFICA RTQ-C</vt:lpstr>
      <vt:lpstr>Apresentação do PowerPoint</vt:lpstr>
      <vt:lpstr>PROCEL EDIFICA - ENVOLTÓRIA RTQ-C</vt:lpstr>
      <vt:lpstr>Apresentação do PowerPoint</vt:lpstr>
      <vt:lpstr>Apresentação do PowerPoint</vt:lpstr>
      <vt:lpstr>Apresentação do PowerPoint</vt:lpstr>
      <vt:lpstr>PROCEL EDIFICA RTQ-C</vt:lpstr>
      <vt:lpstr>PROCEL EDIFICA RTQ-C</vt:lpstr>
      <vt:lpstr>ESTUDO DE CASO – SEDE CEMIG EM BELO HORIZONTE - MG</vt:lpstr>
      <vt:lpstr>PROCEL EDIFICA RTQ-C</vt:lpstr>
      <vt:lpstr>Apresentação do PowerPoint</vt:lpstr>
      <vt:lpstr>PROCEL EDIFICA – NOTA FINAL RTQ-C</vt:lpstr>
      <vt:lpstr>CONCLUSÃO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exandre</dc:creator>
  <cp:lastModifiedBy>Mari</cp:lastModifiedBy>
  <cp:revision>54</cp:revision>
  <dcterms:created xsi:type="dcterms:W3CDTF">2011-11-17T19:42:43Z</dcterms:created>
  <dcterms:modified xsi:type="dcterms:W3CDTF">2011-11-25T13:23:33Z</dcterms:modified>
</cp:coreProperties>
</file>